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0" r:id="rId1"/>
    <p:sldMasterId id="2147483694" r:id="rId2"/>
    <p:sldMasterId id="2147483705" r:id="rId3"/>
    <p:sldMasterId id="2147483715" r:id="rId4"/>
  </p:sldMasterIdLst>
  <p:notesMasterIdLst>
    <p:notesMasterId r:id="rId16"/>
  </p:notesMasterIdLst>
  <p:sldIdLst>
    <p:sldId id="2145707417" r:id="rId5"/>
    <p:sldId id="2147473314" r:id="rId6"/>
    <p:sldId id="2147473886" r:id="rId7"/>
    <p:sldId id="2147473906" r:id="rId8"/>
    <p:sldId id="2147473908" r:id="rId9"/>
    <p:sldId id="2147473901" r:id="rId10"/>
    <p:sldId id="2147473891" r:id="rId11"/>
    <p:sldId id="2147473306" r:id="rId12"/>
    <p:sldId id="2147473905" r:id="rId13"/>
    <p:sldId id="2147473884" r:id="rId14"/>
    <p:sldId id="2147473868" r:id="rId15"/>
  </p:sldIdLst>
  <p:sldSz cx="12192000" cy="6858000"/>
  <p:notesSz cx="6807200" cy="9939338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6D73B8F1-F613-4744-8BBF-55AF909EF54F}">
          <p14:sldIdLst>
            <p14:sldId id="2145707417"/>
            <p14:sldId id="2147473314"/>
            <p14:sldId id="2147473886"/>
            <p14:sldId id="2147473906"/>
            <p14:sldId id="2147473908"/>
            <p14:sldId id="2147473901"/>
            <p14:sldId id="2147473891"/>
            <p14:sldId id="2147473306"/>
            <p14:sldId id="2147473905"/>
            <p14:sldId id="2147473884"/>
            <p14:sldId id="2147473868"/>
          </p14:sldIdLst>
        </p14:section>
      </p14:sectionLst>
    </p:ext>
    <p:ext uri="{EFAFB233-063F-42B5-8137-9DF3F51BA10A}">
      <p15:sldGuideLst xmlns:p15="http://schemas.microsoft.com/office/powerpoint/2012/main">
        <p15:guide id="7" pos="7355" userDrawn="1">
          <p15:clr>
            <a:srgbClr val="A4A3A4"/>
          </p15:clr>
        </p15:guide>
        <p15:guide id="8" orient="horz" pos="3816" userDrawn="1">
          <p15:clr>
            <a:srgbClr val="A4A3A4"/>
          </p15:clr>
        </p15:guide>
        <p15:guide id="10" pos="325" userDrawn="1">
          <p15:clr>
            <a:srgbClr val="A4A3A4"/>
          </p15:clr>
        </p15:guide>
        <p15:guide id="11" orient="horz" pos="3974" userDrawn="1">
          <p15:clr>
            <a:srgbClr val="A4A3A4"/>
          </p15:clr>
        </p15:guide>
        <p15:guide id="12" orient="horz" pos="89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682B01-4F96-E2CC-52C9-35AE16FEA6C6}" name="Zhong, Manni" initials="ZM" userId="S::manni.zhong@takeda.com::4214ba18-bfe8-4d8a-ae9b-9a54aaf267f7" providerId="AD"/>
  <p188:author id="{E258848C-7823-7710-032F-2A41182F2316}" name="Wang, Zhichao" initials="WZ" userId="S::zwang3@cn.imshealth.com::d27ac9bd-ccc4-435f-a717-ff18041b1642" providerId="AD"/>
  <p188:author id="{B2072BEF-76A8-46B5-D3F6-6871ED486C30}" name="Lim, Wah Seng" initials="LWS" userId="S::wahseng.lim@takeda.com::d721b14a-0af7-45c0-a997-05b8a43e8bc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AAC2"/>
    <a:srgbClr val="A6A6A6"/>
    <a:srgbClr val="F2F2F2"/>
    <a:srgbClr val="4C4948"/>
    <a:srgbClr val="D9D9D9"/>
    <a:srgbClr val="969696"/>
    <a:srgbClr val="C3197D"/>
    <a:srgbClr val="CACACA"/>
    <a:srgbClr val="99999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35BEDD-807E-4B03-8F92-ED48CD535020}" v="2" dt="2023-07-14T02:45:40.215"/>
    <p1510:client id="{E270AA6E-3132-4D45-9E6A-8FE3E9D9C74E}" v="1" dt="2023-07-14T04:03:06.3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12" autoAdjust="0"/>
    <p:restoredTop sz="95226" autoAdjust="0"/>
  </p:normalViewPr>
  <p:slideViewPr>
    <p:cSldViewPr snapToGrid="0">
      <p:cViewPr varScale="1">
        <p:scale>
          <a:sx n="85" d="100"/>
          <a:sy n="85" d="100"/>
        </p:scale>
        <p:origin x="461" y="72"/>
      </p:cViewPr>
      <p:guideLst>
        <p:guide pos="7355"/>
        <p:guide orient="horz" pos="3816"/>
        <p:guide pos="325"/>
        <p:guide orient="horz" pos="3974"/>
        <p:guide orient="horz" pos="89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ong, Manni" userId="4214ba18-bfe8-4d8a-ae9b-9a54aaf267f7" providerId="ADAL" clId="{E270AA6E-3132-4D45-9E6A-8FE3E9D9C74E}"/>
    <pc:docChg chg="addSld delSld modSld modSection">
      <pc:chgData name="Zhong, Manni" userId="4214ba18-bfe8-4d8a-ae9b-9a54aaf267f7" providerId="ADAL" clId="{E270AA6E-3132-4D45-9E6A-8FE3E9D9C74E}" dt="2023-07-14T04:03:06.396" v="2"/>
      <pc:docMkLst>
        <pc:docMk/>
      </pc:docMkLst>
      <pc:sldChg chg="add del">
        <pc:chgData name="Zhong, Manni" userId="4214ba18-bfe8-4d8a-ae9b-9a54aaf267f7" providerId="ADAL" clId="{E270AA6E-3132-4D45-9E6A-8FE3E9D9C74E}" dt="2023-07-14T04:03:06.396" v="2"/>
        <pc:sldMkLst>
          <pc:docMk/>
          <pc:sldMk cId="2613855329" sldId="2147473901"/>
        </pc:sldMkLst>
      </pc:sldChg>
      <pc:sldChg chg="del">
        <pc:chgData name="Zhong, Manni" userId="4214ba18-bfe8-4d8a-ae9b-9a54aaf267f7" providerId="ADAL" clId="{E270AA6E-3132-4D45-9E6A-8FE3E9D9C74E}" dt="2023-07-14T03:21:33.528" v="0" actId="47"/>
        <pc:sldMkLst>
          <pc:docMk/>
          <pc:sldMk cId="891107641" sldId="2147473910"/>
        </pc:sldMkLst>
      </pc:sldChg>
    </pc:docChg>
  </pc:docChgLst>
  <pc:docChgLst>
    <pc:chgData name="Zhong, Manni" userId="4214ba18-bfe8-4d8a-ae9b-9a54aaf267f7" providerId="ADAL" clId="{793CD154-4046-4F38-9529-9DABF1D370DD}"/>
    <pc:docChg chg="modSld">
      <pc:chgData name="Zhong, Manni" userId="4214ba18-bfe8-4d8a-ae9b-9a54aaf267f7" providerId="ADAL" clId="{793CD154-4046-4F38-9529-9DABF1D370DD}" dt="2023-07-14T08:23:03.585" v="30" actId="6549"/>
      <pc:docMkLst>
        <pc:docMk/>
      </pc:docMkLst>
      <pc:sldChg chg="modSp mod">
        <pc:chgData name="Zhong, Manni" userId="4214ba18-bfe8-4d8a-ae9b-9a54aaf267f7" providerId="ADAL" clId="{793CD154-4046-4F38-9529-9DABF1D370DD}" dt="2023-07-14T08:23:03.585" v="30" actId="6549"/>
        <pc:sldMkLst>
          <pc:docMk/>
          <pc:sldMk cId="3957796874" sldId="2147473886"/>
        </pc:sldMkLst>
        <pc:spChg chg="mod">
          <ac:chgData name="Zhong, Manni" userId="4214ba18-bfe8-4d8a-ae9b-9a54aaf267f7" providerId="ADAL" clId="{793CD154-4046-4F38-9529-9DABF1D370DD}" dt="2023-07-14T08:23:03.585" v="30" actId="6549"/>
          <ac:spMkLst>
            <pc:docMk/>
            <pc:sldMk cId="3957796874" sldId="2147473886"/>
            <ac:spMk id="7" creationId="{A1B26DED-6CE0-F5C7-0EE6-6F1E82B83DAC}"/>
          </ac:spMkLst>
        </pc:spChg>
      </pc:sldChg>
    </pc:docChg>
  </pc:docChgLst>
  <pc:docChgLst>
    <pc:chgData name="Zhong, Manni" userId="4214ba18-bfe8-4d8a-ae9b-9a54aaf267f7" providerId="ADAL" clId="{2F35BEDD-807E-4B03-8F92-ED48CD535020}"/>
    <pc:docChg chg="undo redo custSel modSld">
      <pc:chgData name="Zhong, Manni" userId="4214ba18-bfe8-4d8a-ae9b-9a54aaf267f7" providerId="ADAL" clId="{2F35BEDD-807E-4B03-8F92-ED48CD535020}" dt="2023-07-14T03:14:39.605" v="336" actId="20577"/>
      <pc:docMkLst>
        <pc:docMk/>
      </pc:docMkLst>
      <pc:sldChg chg="modSp mod">
        <pc:chgData name="Zhong, Manni" userId="4214ba18-bfe8-4d8a-ae9b-9a54aaf267f7" providerId="ADAL" clId="{2F35BEDD-807E-4B03-8F92-ED48CD535020}" dt="2023-07-14T02:36:49.870" v="12" actId="20577"/>
        <pc:sldMkLst>
          <pc:docMk/>
          <pc:sldMk cId="3207620464" sldId="2145707417"/>
        </pc:sldMkLst>
        <pc:spChg chg="mod">
          <ac:chgData name="Zhong, Manni" userId="4214ba18-bfe8-4d8a-ae9b-9a54aaf267f7" providerId="ADAL" clId="{2F35BEDD-807E-4B03-8F92-ED48CD535020}" dt="2023-07-14T02:36:49.870" v="12" actId="20577"/>
          <ac:spMkLst>
            <pc:docMk/>
            <pc:sldMk cId="3207620464" sldId="2145707417"/>
            <ac:spMk id="12" creationId="{BE9AD0C3-918D-B1C8-FDED-F722F8E45FE8}"/>
          </ac:spMkLst>
        </pc:spChg>
      </pc:sldChg>
      <pc:sldChg chg="modSp mod">
        <pc:chgData name="Zhong, Manni" userId="4214ba18-bfe8-4d8a-ae9b-9a54aaf267f7" providerId="ADAL" clId="{2F35BEDD-807E-4B03-8F92-ED48CD535020}" dt="2023-07-14T03:14:39.605" v="336" actId="20577"/>
        <pc:sldMkLst>
          <pc:docMk/>
          <pc:sldMk cId="2866399298" sldId="2147473306"/>
        </pc:sldMkLst>
        <pc:spChg chg="mod">
          <ac:chgData name="Zhong, Manni" userId="4214ba18-bfe8-4d8a-ae9b-9a54aaf267f7" providerId="ADAL" clId="{2F35BEDD-807E-4B03-8F92-ED48CD535020}" dt="2023-07-14T03:14:33.059" v="332" actId="20577"/>
          <ac:spMkLst>
            <pc:docMk/>
            <pc:sldMk cId="2866399298" sldId="2147473306"/>
            <ac:spMk id="2" creationId="{DEAECBB5-0349-4590-8F09-D9DF6589F10E}"/>
          </ac:spMkLst>
        </pc:spChg>
        <pc:spChg chg="mod">
          <ac:chgData name="Zhong, Manni" userId="4214ba18-bfe8-4d8a-ae9b-9a54aaf267f7" providerId="ADAL" clId="{2F35BEDD-807E-4B03-8F92-ED48CD535020}" dt="2023-07-14T03:12:38.531" v="313" actId="20577"/>
          <ac:spMkLst>
            <pc:docMk/>
            <pc:sldMk cId="2866399298" sldId="2147473306"/>
            <ac:spMk id="6" creationId="{E4C31DC8-18DB-4048-BC89-70AF4A845E23}"/>
          </ac:spMkLst>
        </pc:spChg>
        <pc:spChg chg="mod">
          <ac:chgData name="Zhong, Manni" userId="4214ba18-bfe8-4d8a-ae9b-9a54aaf267f7" providerId="ADAL" clId="{2F35BEDD-807E-4B03-8F92-ED48CD535020}" dt="2023-07-14T03:14:28.369" v="330" actId="20577"/>
          <ac:spMkLst>
            <pc:docMk/>
            <pc:sldMk cId="2866399298" sldId="2147473306"/>
            <ac:spMk id="21" creationId="{87D41B69-8D3F-4597-8DF4-628D479ED753}"/>
          </ac:spMkLst>
        </pc:spChg>
        <pc:spChg chg="mod">
          <ac:chgData name="Zhong, Manni" userId="4214ba18-bfe8-4d8a-ae9b-9a54aaf267f7" providerId="ADAL" clId="{2F35BEDD-807E-4B03-8F92-ED48CD535020}" dt="2023-07-14T03:14:36.185" v="334" actId="20577"/>
          <ac:spMkLst>
            <pc:docMk/>
            <pc:sldMk cId="2866399298" sldId="2147473306"/>
            <ac:spMk id="7371" creationId="{6935B641-D51E-3B1F-9D97-BE8BD867CA98}"/>
          </ac:spMkLst>
        </pc:spChg>
        <pc:spChg chg="mod">
          <ac:chgData name="Zhong, Manni" userId="4214ba18-bfe8-4d8a-ae9b-9a54aaf267f7" providerId="ADAL" clId="{2F35BEDD-807E-4B03-8F92-ED48CD535020}" dt="2023-07-14T03:14:39.605" v="336" actId="20577"/>
          <ac:spMkLst>
            <pc:docMk/>
            <pc:sldMk cId="2866399298" sldId="2147473306"/>
            <ac:spMk id="7376" creationId="{F2F0F4AE-083A-BDB9-AF59-F1643B9DA8E2}"/>
          </ac:spMkLst>
        </pc:spChg>
        <pc:spChg chg="mod">
          <ac:chgData name="Zhong, Manni" userId="4214ba18-bfe8-4d8a-ae9b-9a54aaf267f7" providerId="ADAL" clId="{2F35BEDD-807E-4B03-8F92-ED48CD535020}" dt="2023-07-14T03:14:25.961" v="328" actId="6549"/>
          <ac:spMkLst>
            <pc:docMk/>
            <pc:sldMk cId="2866399298" sldId="2147473306"/>
            <ac:spMk id="7395" creationId="{3C137381-E683-083B-4945-C1EBDE2BA5A5}"/>
          </ac:spMkLst>
        </pc:spChg>
      </pc:sldChg>
      <pc:sldChg chg="modSp mod">
        <pc:chgData name="Zhong, Manni" userId="4214ba18-bfe8-4d8a-ae9b-9a54aaf267f7" providerId="ADAL" clId="{2F35BEDD-807E-4B03-8F92-ED48CD535020}" dt="2023-07-14T02:42:15.705" v="16" actId="6549"/>
        <pc:sldMkLst>
          <pc:docMk/>
          <pc:sldMk cId="3112568075" sldId="2147473868"/>
        </pc:sldMkLst>
        <pc:spChg chg="mod">
          <ac:chgData name="Zhong, Manni" userId="4214ba18-bfe8-4d8a-ae9b-9a54aaf267f7" providerId="ADAL" clId="{2F35BEDD-807E-4B03-8F92-ED48CD535020}" dt="2023-07-14T02:42:15.705" v="16" actId="6549"/>
          <ac:spMkLst>
            <pc:docMk/>
            <pc:sldMk cId="3112568075" sldId="2147473868"/>
            <ac:spMk id="17" creationId="{CF32FC2A-F5A4-438E-C1D2-58ABCEDEC361}"/>
          </ac:spMkLst>
        </pc:spChg>
      </pc:sldChg>
      <pc:sldChg chg="modSp mod">
        <pc:chgData name="Zhong, Manni" userId="4214ba18-bfe8-4d8a-ae9b-9a54aaf267f7" providerId="ADAL" clId="{2F35BEDD-807E-4B03-8F92-ED48CD535020}" dt="2023-07-14T02:46:59.872" v="137" actId="1035"/>
        <pc:sldMkLst>
          <pc:docMk/>
          <pc:sldMk cId="3957796874" sldId="2147473886"/>
        </pc:sldMkLst>
        <pc:spChg chg="mod">
          <ac:chgData name="Zhong, Manni" userId="4214ba18-bfe8-4d8a-ae9b-9a54aaf267f7" providerId="ADAL" clId="{2F35BEDD-807E-4B03-8F92-ED48CD535020}" dt="2023-07-14T02:46:31.620" v="127" actId="12788"/>
          <ac:spMkLst>
            <pc:docMk/>
            <pc:sldMk cId="3957796874" sldId="2147473886"/>
            <ac:spMk id="3" creationId="{C69A0289-6C92-3ACD-BEA9-0634F55CB0E8}"/>
          </ac:spMkLst>
        </pc:spChg>
        <pc:spChg chg="mod">
          <ac:chgData name="Zhong, Manni" userId="4214ba18-bfe8-4d8a-ae9b-9a54aaf267f7" providerId="ADAL" clId="{2F35BEDD-807E-4B03-8F92-ED48CD535020}" dt="2023-07-14T02:46:40.885" v="129" actId="20577"/>
          <ac:spMkLst>
            <pc:docMk/>
            <pc:sldMk cId="3957796874" sldId="2147473886"/>
            <ac:spMk id="7" creationId="{A1B26DED-6CE0-F5C7-0EE6-6F1E82B83DAC}"/>
          </ac:spMkLst>
        </pc:spChg>
        <pc:spChg chg="mod">
          <ac:chgData name="Zhong, Manni" userId="4214ba18-bfe8-4d8a-ae9b-9a54aaf267f7" providerId="ADAL" clId="{2F35BEDD-807E-4B03-8F92-ED48CD535020}" dt="2023-07-14T02:46:59.872" v="137" actId="1035"/>
          <ac:spMkLst>
            <pc:docMk/>
            <pc:sldMk cId="3957796874" sldId="2147473886"/>
            <ac:spMk id="14" creationId="{58463C88-8806-D60D-F35C-EA5D1565CB14}"/>
          </ac:spMkLst>
        </pc:spChg>
        <pc:spChg chg="mod">
          <ac:chgData name="Zhong, Manni" userId="4214ba18-bfe8-4d8a-ae9b-9a54aaf267f7" providerId="ADAL" clId="{2F35BEDD-807E-4B03-8F92-ED48CD535020}" dt="2023-07-14T02:46:59.872" v="137" actId="1035"/>
          <ac:spMkLst>
            <pc:docMk/>
            <pc:sldMk cId="3957796874" sldId="2147473886"/>
            <ac:spMk id="19" creationId="{31D632C8-0605-6615-66C4-F10C6FC04A56}"/>
          </ac:spMkLst>
        </pc:spChg>
        <pc:spChg chg="mod">
          <ac:chgData name="Zhong, Manni" userId="4214ba18-bfe8-4d8a-ae9b-9a54aaf267f7" providerId="ADAL" clId="{2F35BEDD-807E-4B03-8F92-ED48CD535020}" dt="2023-07-14T02:46:59.872" v="137" actId="1035"/>
          <ac:spMkLst>
            <pc:docMk/>
            <pc:sldMk cId="3957796874" sldId="2147473886"/>
            <ac:spMk id="22" creationId="{6496BA78-4375-B7E8-BB21-9A467405A3E9}"/>
          </ac:spMkLst>
        </pc:spChg>
        <pc:spChg chg="mod">
          <ac:chgData name="Zhong, Manni" userId="4214ba18-bfe8-4d8a-ae9b-9a54aaf267f7" providerId="ADAL" clId="{2F35BEDD-807E-4B03-8F92-ED48CD535020}" dt="2023-07-14T02:46:59.872" v="137" actId="1035"/>
          <ac:spMkLst>
            <pc:docMk/>
            <pc:sldMk cId="3957796874" sldId="2147473886"/>
            <ac:spMk id="23" creationId="{A3ABB9FB-EB99-7ED3-4A48-202D161E5B7C}"/>
          </ac:spMkLst>
        </pc:spChg>
        <pc:spChg chg="mod">
          <ac:chgData name="Zhong, Manni" userId="4214ba18-bfe8-4d8a-ae9b-9a54aaf267f7" providerId="ADAL" clId="{2F35BEDD-807E-4B03-8F92-ED48CD535020}" dt="2023-07-14T02:46:59.872" v="137" actId="1035"/>
          <ac:spMkLst>
            <pc:docMk/>
            <pc:sldMk cId="3957796874" sldId="2147473886"/>
            <ac:spMk id="24" creationId="{18761B30-E819-BEA3-55A1-FC679D6A93CB}"/>
          </ac:spMkLst>
        </pc:spChg>
        <pc:picChg chg="mod">
          <ac:chgData name="Zhong, Manni" userId="4214ba18-bfe8-4d8a-ae9b-9a54aaf267f7" providerId="ADAL" clId="{2F35BEDD-807E-4B03-8F92-ED48CD535020}" dt="2023-07-14T02:46:59.872" v="137" actId="1035"/>
          <ac:picMkLst>
            <pc:docMk/>
            <pc:sldMk cId="3957796874" sldId="2147473886"/>
            <ac:picMk id="21" creationId="{B5469E80-3EC1-5539-FE44-BAD2E23F4A82}"/>
          </ac:picMkLst>
        </pc:picChg>
      </pc:sldChg>
      <pc:sldChg chg="modSp mod">
        <pc:chgData name="Zhong, Manni" userId="4214ba18-bfe8-4d8a-ae9b-9a54aaf267f7" providerId="ADAL" clId="{2F35BEDD-807E-4B03-8F92-ED48CD535020}" dt="2023-07-14T02:51:41.538" v="221" actId="12788"/>
        <pc:sldMkLst>
          <pc:docMk/>
          <pc:sldMk cId="1139905043" sldId="2147473891"/>
        </pc:sldMkLst>
        <pc:spChg chg="mod">
          <ac:chgData name="Zhong, Manni" userId="4214ba18-bfe8-4d8a-ae9b-9a54aaf267f7" providerId="ADAL" clId="{2F35BEDD-807E-4B03-8F92-ED48CD535020}" dt="2023-07-14T02:51:41.538" v="221" actId="12788"/>
          <ac:spMkLst>
            <pc:docMk/>
            <pc:sldMk cId="1139905043" sldId="2147473891"/>
            <ac:spMk id="10" creationId="{50176515-F3B4-B2F4-4CF6-265D3C3019E1}"/>
          </ac:spMkLst>
        </pc:spChg>
        <pc:spChg chg="mod">
          <ac:chgData name="Zhong, Manni" userId="4214ba18-bfe8-4d8a-ae9b-9a54aaf267f7" providerId="ADAL" clId="{2F35BEDD-807E-4B03-8F92-ED48CD535020}" dt="2023-07-14T02:51:41.538" v="221" actId="12788"/>
          <ac:spMkLst>
            <pc:docMk/>
            <pc:sldMk cId="1139905043" sldId="2147473891"/>
            <ac:spMk id="18" creationId="{DF52C71F-E739-4349-102B-474C5B1D23A2}"/>
          </ac:spMkLst>
        </pc:spChg>
        <pc:spChg chg="mod">
          <ac:chgData name="Zhong, Manni" userId="4214ba18-bfe8-4d8a-ae9b-9a54aaf267f7" providerId="ADAL" clId="{2F35BEDD-807E-4B03-8F92-ED48CD535020}" dt="2023-07-14T02:51:41.538" v="221" actId="12788"/>
          <ac:spMkLst>
            <pc:docMk/>
            <pc:sldMk cId="1139905043" sldId="2147473891"/>
            <ac:spMk id="29" creationId="{5636E955-0FBF-4F39-36BD-F21B6F3AF3D4}"/>
          </ac:spMkLst>
        </pc:spChg>
        <pc:spChg chg="mod">
          <ac:chgData name="Zhong, Manni" userId="4214ba18-bfe8-4d8a-ae9b-9a54aaf267f7" providerId="ADAL" clId="{2F35BEDD-807E-4B03-8F92-ED48CD535020}" dt="2023-07-14T02:51:41.538" v="221" actId="12788"/>
          <ac:spMkLst>
            <pc:docMk/>
            <pc:sldMk cId="1139905043" sldId="2147473891"/>
            <ac:spMk id="1152" creationId="{02F0763D-2EDA-46D5-42E4-E980B421BCE5}"/>
          </ac:spMkLst>
        </pc:spChg>
        <pc:graphicFrameChg chg="mod">
          <ac:chgData name="Zhong, Manni" userId="4214ba18-bfe8-4d8a-ae9b-9a54aaf267f7" providerId="ADAL" clId="{2F35BEDD-807E-4B03-8F92-ED48CD535020}" dt="2023-07-14T02:51:41.538" v="221" actId="12788"/>
          <ac:graphicFrameMkLst>
            <pc:docMk/>
            <pc:sldMk cId="1139905043" sldId="2147473891"/>
            <ac:graphicFrameMk id="3" creationId="{0AA276D9-F902-3670-BE5B-3B07FEC7C763}"/>
          </ac:graphicFrameMkLst>
        </pc:graphicFrameChg>
        <pc:cxnChg chg="mod">
          <ac:chgData name="Zhong, Manni" userId="4214ba18-bfe8-4d8a-ae9b-9a54aaf267f7" providerId="ADAL" clId="{2F35BEDD-807E-4B03-8F92-ED48CD535020}" dt="2023-07-14T02:51:41.538" v="221" actId="12788"/>
          <ac:cxnSpMkLst>
            <pc:docMk/>
            <pc:sldMk cId="1139905043" sldId="2147473891"/>
            <ac:cxnSpMk id="17" creationId="{4CFF9402-DB33-0E53-F90E-2E5693110D97}"/>
          </ac:cxnSpMkLst>
        </pc:cxnChg>
      </pc:sldChg>
      <pc:sldChg chg="addSp delSp modSp mod">
        <pc:chgData name="Zhong, Manni" userId="4214ba18-bfe8-4d8a-ae9b-9a54aaf267f7" providerId="ADAL" clId="{2F35BEDD-807E-4B03-8F92-ED48CD535020}" dt="2023-07-14T03:01:23.198" v="271" actId="478"/>
        <pc:sldMkLst>
          <pc:docMk/>
          <pc:sldMk cId="2613855329" sldId="2147473901"/>
        </pc:sldMkLst>
        <pc:spChg chg="mod">
          <ac:chgData name="Zhong, Manni" userId="4214ba18-bfe8-4d8a-ae9b-9a54aaf267f7" providerId="ADAL" clId="{2F35BEDD-807E-4B03-8F92-ED48CD535020}" dt="2023-07-14T02:49:26.842" v="176" actId="14100"/>
          <ac:spMkLst>
            <pc:docMk/>
            <pc:sldMk cId="2613855329" sldId="2147473901"/>
            <ac:spMk id="4" creationId="{38298278-8C1B-54DF-71A4-F2058660F694}"/>
          </ac:spMkLst>
        </pc:spChg>
        <pc:spChg chg="add del mod">
          <ac:chgData name="Zhong, Manni" userId="4214ba18-bfe8-4d8a-ae9b-9a54aaf267f7" providerId="ADAL" clId="{2F35BEDD-807E-4B03-8F92-ED48CD535020}" dt="2023-07-14T03:01:23.198" v="271" actId="478"/>
          <ac:spMkLst>
            <pc:docMk/>
            <pc:sldMk cId="2613855329" sldId="2147473901"/>
            <ac:spMk id="6" creationId="{A0CBF2A4-F7AD-165F-1577-03BE676D499F}"/>
          </ac:spMkLst>
        </pc:spChg>
        <pc:spChg chg="mod">
          <ac:chgData name="Zhong, Manni" userId="4214ba18-bfe8-4d8a-ae9b-9a54aaf267f7" providerId="ADAL" clId="{2F35BEDD-807E-4B03-8F92-ED48CD535020}" dt="2023-07-14T03:01:20.696" v="270" actId="12788"/>
          <ac:spMkLst>
            <pc:docMk/>
            <pc:sldMk cId="2613855329" sldId="2147473901"/>
            <ac:spMk id="7" creationId="{7E2251EA-BDCD-27A6-ED43-58AF458F9A8B}"/>
          </ac:spMkLst>
        </pc:spChg>
        <pc:spChg chg="mod">
          <ac:chgData name="Zhong, Manni" userId="4214ba18-bfe8-4d8a-ae9b-9a54aaf267f7" providerId="ADAL" clId="{2F35BEDD-807E-4B03-8F92-ED48CD535020}" dt="2023-07-14T02:49:51.622" v="183" actId="1036"/>
          <ac:spMkLst>
            <pc:docMk/>
            <pc:sldMk cId="2613855329" sldId="2147473901"/>
            <ac:spMk id="38" creationId="{EF998CC4-2F34-C40F-7B5A-AD2CF9424CC7}"/>
          </ac:spMkLst>
        </pc:spChg>
        <pc:spChg chg="mod">
          <ac:chgData name="Zhong, Manni" userId="4214ba18-bfe8-4d8a-ae9b-9a54aaf267f7" providerId="ADAL" clId="{2F35BEDD-807E-4B03-8F92-ED48CD535020}" dt="2023-07-14T02:49:47.697" v="181" actId="1036"/>
          <ac:spMkLst>
            <pc:docMk/>
            <pc:sldMk cId="2613855329" sldId="2147473901"/>
            <ac:spMk id="44" creationId="{20504550-A0E7-D503-B6FE-10A705149667}"/>
          </ac:spMkLst>
        </pc:spChg>
        <pc:spChg chg="mod">
          <ac:chgData name="Zhong, Manni" userId="4214ba18-bfe8-4d8a-ae9b-9a54aaf267f7" providerId="ADAL" clId="{2F35BEDD-807E-4B03-8F92-ED48CD535020}" dt="2023-07-14T02:49:34.104" v="178" actId="14100"/>
          <ac:spMkLst>
            <pc:docMk/>
            <pc:sldMk cId="2613855329" sldId="2147473901"/>
            <ac:spMk id="45" creationId="{D688D89F-1FF2-0468-F8BF-932A0AA98A1E}"/>
          </ac:spMkLst>
        </pc:spChg>
        <pc:spChg chg="mod">
          <ac:chgData name="Zhong, Manni" userId="4214ba18-bfe8-4d8a-ae9b-9a54aaf267f7" providerId="ADAL" clId="{2F35BEDD-807E-4B03-8F92-ED48CD535020}" dt="2023-07-14T03:01:00.581" v="268" actId="20577"/>
          <ac:spMkLst>
            <pc:docMk/>
            <pc:sldMk cId="2613855329" sldId="2147473901"/>
            <ac:spMk id="81" creationId="{B9EDABFC-1B32-5C97-D67E-229C9EB0B522}"/>
          </ac:spMkLst>
        </pc:spChg>
        <pc:spChg chg="mod">
          <ac:chgData name="Zhong, Manni" userId="4214ba18-bfe8-4d8a-ae9b-9a54aaf267f7" providerId="ADAL" clId="{2F35BEDD-807E-4B03-8F92-ED48CD535020}" dt="2023-07-14T02:49:54.927" v="185" actId="1036"/>
          <ac:spMkLst>
            <pc:docMk/>
            <pc:sldMk cId="2613855329" sldId="2147473901"/>
            <ac:spMk id="82" creationId="{F5B1B466-2759-0FAD-3632-B5D35BACCDA4}"/>
          </ac:spMkLst>
        </pc:spChg>
        <pc:grpChg chg="mod">
          <ac:chgData name="Zhong, Manni" userId="4214ba18-bfe8-4d8a-ae9b-9a54aaf267f7" providerId="ADAL" clId="{2F35BEDD-807E-4B03-8F92-ED48CD535020}" dt="2023-07-14T02:51:15.137" v="220" actId="1038"/>
          <ac:grpSpMkLst>
            <pc:docMk/>
            <pc:sldMk cId="2613855329" sldId="2147473901"/>
            <ac:grpSpMk id="8" creationId="{8D1DCF96-EF3B-6731-0C81-C0EE083F3E6D}"/>
          </ac:grpSpMkLst>
        </pc:grpChg>
        <pc:grpChg chg="mod">
          <ac:chgData name="Zhong, Manni" userId="4214ba18-bfe8-4d8a-ae9b-9a54aaf267f7" providerId="ADAL" clId="{2F35BEDD-807E-4B03-8F92-ED48CD535020}" dt="2023-07-14T02:51:15.137" v="220" actId="1038"/>
          <ac:grpSpMkLst>
            <pc:docMk/>
            <pc:sldMk cId="2613855329" sldId="2147473901"/>
            <ac:grpSpMk id="32" creationId="{0ADE6957-563E-1339-9E9E-4E234BA98D91}"/>
          </ac:grpSpMkLst>
        </pc:grpChg>
        <pc:grpChg chg="mod">
          <ac:chgData name="Zhong, Manni" userId="4214ba18-bfe8-4d8a-ae9b-9a54aaf267f7" providerId="ADAL" clId="{2F35BEDD-807E-4B03-8F92-ED48CD535020}" dt="2023-07-14T02:51:15.137" v="220" actId="1038"/>
          <ac:grpSpMkLst>
            <pc:docMk/>
            <pc:sldMk cId="2613855329" sldId="2147473901"/>
            <ac:grpSpMk id="40" creationId="{673DD05E-F23E-EA7C-E828-E8914EAEF703}"/>
          </ac:grpSpMkLst>
        </pc:grpChg>
      </pc:sldChg>
      <pc:sldChg chg="modSp mod">
        <pc:chgData name="Zhong, Manni" userId="4214ba18-bfe8-4d8a-ae9b-9a54aaf267f7" providerId="ADAL" clId="{2F35BEDD-807E-4B03-8F92-ED48CD535020}" dt="2023-07-14T02:58:25.678" v="258" actId="1036"/>
        <pc:sldMkLst>
          <pc:docMk/>
          <pc:sldMk cId="2655539930" sldId="2147473905"/>
        </pc:sldMkLst>
        <pc:spChg chg="mod">
          <ac:chgData name="Zhong, Manni" userId="4214ba18-bfe8-4d8a-ae9b-9a54aaf267f7" providerId="ADAL" clId="{2F35BEDD-807E-4B03-8F92-ED48CD535020}" dt="2023-07-14T02:53:10.017" v="225" actId="465"/>
          <ac:spMkLst>
            <pc:docMk/>
            <pc:sldMk cId="2655539930" sldId="2147473905"/>
            <ac:spMk id="3" creationId="{E853B3E2-8965-D0F9-700E-2445789A10E9}"/>
          </ac:spMkLst>
        </pc:spChg>
        <pc:spChg chg="mod">
          <ac:chgData name="Zhong, Manni" userId="4214ba18-bfe8-4d8a-ae9b-9a54aaf267f7" providerId="ADAL" clId="{2F35BEDD-807E-4B03-8F92-ED48CD535020}" dt="2023-07-14T02:53:10.017" v="225" actId="465"/>
          <ac:spMkLst>
            <pc:docMk/>
            <pc:sldMk cId="2655539930" sldId="2147473905"/>
            <ac:spMk id="8" creationId="{5C3A3278-27D4-4C75-6FAE-B157B82D13C6}"/>
          </ac:spMkLst>
        </pc:spChg>
        <pc:spChg chg="mod">
          <ac:chgData name="Zhong, Manni" userId="4214ba18-bfe8-4d8a-ae9b-9a54aaf267f7" providerId="ADAL" clId="{2F35BEDD-807E-4B03-8F92-ED48CD535020}" dt="2023-07-14T02:52:55.607" v="223" actId="1038"/>
          <ac:spMkLst>
            <pc:docMk/>
            <pc:sldMk cId="2655539930" sldId="2147473905"/>
            <ac:spMk id="20" creationId="{5DCE14FC-7573-31EC-E48C-5CA5ED2D23B2}"/>
          </ac:spMkLst>
        </pc:spChg>
        <pc:spChg chg="mod">
          <ac:chgData name="Zhong, Manni" userId="4214ba18-bfe8-4d8a-ae9b-9a54aaf267f7" providerId="ADAL" clId="{2F35BEDD-807E-4B03-8F92-ED48CD535020}" dt="2023-07-14T02:58:25.678" v="258" actId="1036"/>
          <ac:spMkLst>
            <pc:docMk/>
            <pc:sldMk cId="2655539930" sldId="2147473905"/>
            <ac:spMk id="21" creationId="{1F793752-42C4-702E-B6CA-8A4C53248170}"/>
          </ac:spMkLst>
        </pc:spChg>
        <pc:spChg chg="mod">
          <ac:chgData name="Zhong, Manni" userId="4214ba18-bfe8-4d8a-ae9b-9a54aaf267f7" providerId="ADAL" clId="{2F35BEDD-807E-4B03-8F92-ED48CD535020}" dt="2023-07-14T02:52:55.607" v="223" actId="1038"/>
          <ac:spMkLst>
            <pc:docMk/>
            <pc:sldMk cId="2655539930" sldId="2147473905"/>
            <ac:spMk id="22" creationId="{F7469F4A-0912-7B1D-A460-E422E174DE21}"/>
          </ac:spMkLst>
        </pc:spChg>
        <pc:spChg chg="mod">
          <ac:chgData name="Zhong, Manni" userId="4214ba18-bfe8-4d8a-ae9b-9a54aaf267f7" providerId="ADAL" clId="{2F35BEDD-807E-4B03-8F92-ED48CD535020}" dt="2023-07-14T02:52:55.607" v="223" actId="1038"/>
          <ac:spMkLst>
            <pc:docMk/>
            <pc:sldMk cId="2655539930" sldId="2147473905"/>
            <ac:spMk id="25" creationId="{72BBEF47-3337-AB25-7EB7-DF69FEDB2617}"/>
          </ac:spMkLst>
        </pc:spChg>
        <pc:spChg chg="mod">
          <ac:chgData name="Zhong, Manni" userId="4214ba18-bfe8-4d8a-ae9b-9a54aaf267f7" providerId="ADAL" clId="{2F35BEDD-807E-4B03-8F92-ED48CD535020}" dt="2023-07-14T02:58:25.678" v="258" actId="1036"/>
          <ac:spMkLst>
            <pc:docMk/>
            <pc:sldMk cId="2655539930" sldId="2147473905"/>
            <ac:spMk id="26" creationId="{B2BCF7C6-4A73-2478-ED94-F2D7566A9123}"/>
          </ac:spMkLst>
        </pc:spChg>
        <pc:spChg chg="mod">
          <ac:chgData name="Zhong, Manni" userId="4214ba18-bfe8-4d8a-ae9b-9a54aaf267f7" providerId="ADAL" clId="{2F35BEDD-807E-4B03-8F92-ED48CD535020}" dt="2023-07-14T02:54:45.125" v="244" actId="20577"/>
          <ac:spMkLst>
            <pc:docMk/>
            <pc:sldMk cId="2655539930" sldId="2147473905"/>
            <ac:spMk id="27" creationId="{C4F62EF0-FA0E-CD0B-4505-285B4CA11554}"/>
          </ac:spMkLst>
        </pc:spChg>
        <pc:spChg chg="mod">
          <ac:chgData name="Zhong, Manni" userId="4214ba18-bfe8-4d8a-ae9b-9a54aaf267f7" providerId="ADAL" clId="{2F35BEDD-807E-4B03-8F92-ED48CD535020}" dt="2023-07-14T02:52:55.607" v="223" actId="1038"/>
          <ac:spMkLst>
            <pc:docMk/>
            <pc:sldMk cId="2655539930" sldId="2147473905"/>
            <ac:spMk id="29" creationId="{2FD80BAA-A53E-1585-6777-EFC638465DC0}"/>
          </ac:spMkLst>
        </pc:spChg>
        <pc:spChg chg="mod">
          <ac:chgData name="Zhong, Manni" userId="4214ba18-bfe8-4d8a-ae9b-9a54aaf267f7" providerId="ADAL" clId="{2F35BEDD-807E-4B03-8F92-ED48CD535020}" dt="2023-07-14T02:52:55.607" v="223" actId="1038"/>
          <ac:spMkLst>
            <pc:docMk/>
            <pc:sldMk cId="2655539930" sldId="2147473905"/>
            <ac:spMk id="32" creationId="{C9695625-58AC-72EC-FE46-11BBAD49EF83}"/>
          </ac:spMkLst>
        </pc:spChg>
        <pc:spChg chg="mod">
          <ac:chgData name="Zhong, Manni" userId="4214ba18-bfe8-4d8a-ae9b-9a54aaf267f7" providerId="ADAL" clId="{2F35BEDD-807E-4B03-8F92-ED48CD535020}" dt="2023-07-14T02:58:25.678" v="258" actId="1036"/>
          <ac:spMkLst>
            <pc:docMk/>
            <pc:sldMk cId="2655539930" sldId="2147473905"/>
            <ac:spMk id="42" creationId="{CB5D53F6-6FA0-4618-B031-E15A7D633774}"/>
          </ac:spMkLst>
        </pc:spChg>
        <pc:spChg chg="mod">
          <ac:chgData name="Zhong, Manni" userId="4214ba18-bfe8-4d8a-ae9b-9a54aaf267f7" providerId="ADAL" clId="{2F35BEDD-807E-4B03-8F92-ED48CD535020}" dt="2023-07-14T02:58:25.678" v="258" actId="1036"/>
          <ac:spMkLst>
            <pc:docMk/>
            <pc:sldMk cId="2655539930" sldId="2147473905"/>
            <ac:spMk id="43" creationId="{9818C368-7607-6551-75BF-E1072498A065}"/>
          </ac:spMkLst>
        </pc:spChg>
      </pc:sldChg>
      <pc:sldChg chg="addSp delSp modSp mod">
        <pc:chgData name="Zhong, Manni" userId="4214ba18-bfe8-4d8a-ae9b-9a54aaf267f7" providerId="ADAL" clId="{2F35BEDD-807E-4B03-8F92-ED48CD535020}" dt="2023-07-14T02:59:25.824" v="262" actId="20577"/>
        <pc:sldMkLst>
          <pc:docMk/>
          <pc:sldMk cId="1796141067" sldId="2147473906"/>
        </pc:sldMkLst>
        <pc:spChg chg="mod">
          <ac:chgData name="Zhong, Manni" userId="4214ba18-bfe8-4d8a-ae9b-9a54aaf267f7" providerId="ADAL" clId="{2F35BEDD-807E-4B03-8F92-ED48CD535020}" dt="2023-07-14T02:48:04.288" v="152" actId="14100"/>
          <ac:spMkLst>
            <pc:docMk/>
            <pc:sldMk cId="1796141067" sldId="2147473906"/>
            <ac:spMk id="3" creationId="{D217FFDC-D97C-D4E8-7736-081D0A536EF2}"/>
          </ac:spMkLst>
        </pc:spChg>
        <pc:spChg chg="mod">
          <ac:chgData name="Zhong, Manni" userId="4214ba18-bfe8-4d8a-ae9b-9a54aaf267f7" providerId="ADAL" clId="{2F35BEDD-807E-4B03-8F92-ED48CD535020}" dt="2023-07-14T02:48:04.288" v="152" actId="14100"/>
          <ac:spMkLst>
            <pc:docMk/>
            <pc:sldMk cId="1796141067" sldId="2147473906"/>
            <ac:spMk id="4" creationId="{DDAB2C8A-116F-AA22-B5A7-7A9D4A826F0E}"/>
          </ac:spMkLst>
        </pc:spChg>
        <pc:spChg chg="mod">
          <ac:chgData name="Zhong, Manni" userId="4214ba18-bfe8-4d8a-ae9b-9a54aaf267f7" providerId="ADAL" clId="{2F35BEDD-807E-4B03-8F92-ED48CD535020}" dt="2023-07-14T02:48:04.288" v="152" actId="14100"/>
          <ac:spMkLst>
            <pc:docMk/>
            <pc:sldMk cId="1796141067" sldId="2147473906"/>
            <ac:spMk id="5" creationId="{2D75D8D0-DFB1-4C4E-4F69-A2D72D0D6BFB}"/>
          </ac:spMkLst>
        </pc:spChg>
        <pc:spChg chg="mod">
          <ac:chgData name="Zhong, Manni" userId="4214ba18-bfe8-4d8a-ae9b-9a54aaf267f7" providerId="ADAL" clId="{2F35BEDD-807E-4B03-8F92-ED48CD535020}" dt="2023-07-14T02:48:04.288" v="152" actId="14100"/>
          <ac:spMkLst>
            <pc:docMk/>
            <pc:sldMk cId="1796141067" sldId="2147473906"/>
            <ac:spMk id="6" creationId="{DEED8978-A5B9-7DFB-BED1-02E68EF42E1A}"/>
          </ac:spMkLst>
        </pc:spChg>
        <pc:spChg chg="mod">
          <ac:chgData name="Zhong, Manni" userId="4214ba18-bfe8-4d8a-ae9b-9a54aaf267f7" providerId="ADAL" clId="{2F35BEDD-807E-4B03-8F92-ED48CD535020}" dt="2023-07-14T02:48:04.288" v="152" actId="14100"/>
          <ac:spMkLst>
            <pc:docMk/>
            <pc:sldMk cId="1796141067" sldId="2147473906"/>
            <ac:spMk id="7" creationId="{C727091B-DA33-571D-096B-B69A9DB65A5D}"/>
          </ac:spMkLst>
        </pc:spChg>
        <pc:spChg chg="mod">
          <ac:chgData name="Zhong, Manni" userId="4214ba18-bfe8-4d8a-ae9b-9a54aaf267f7" providerId="ADAL" clId="{2F35BEDD-807E-4B03-8F92-ED48CD535020}" dt="2023-07-14T02:48:10.188" v="168" actId="1037"/>
          <ac:spMkLst>
            <pc:docMk/>
            <pc:sldMk cId="1796141067" sldId="2147473906"/>
            <ac:spMk id="12" creationId="{504BD89D-0EB1-0DD4-4EEA-3C8D0DC49AC6}"/>
          </ac:spMkLst>
        </pc:spChg>
        <pc:spChg chg="mod">
          <ac:chgData name="Zhong, Manni" userId="4214ba18-bfe8-4d8a-ae9b-9a54aaf267f7" providerId="ADAL" clId="{2F35BEDD-807E-4B03-8F92-ED48CD535020}" dt="2023-07-14T02:48:10.188" v="168" actId="1037"/>
          <ac:spMkLst>
            <pc:docMk/>
            <pc:sldMk cId="1796141067" sldId="2147473906"/>
            <ac:spMk id="15" creationId="{CB63FADE-D0C4-1733-6098-089AE4AB30D9}"/>
          </ac:spMkLst>
        </pc:spChg>
        <pc:spChg chg="mod">
          <ac:chgData name="Zhong, Manni" userId="4214ba18-bfe8-4d8a-ae9b-9a54aaf267f7" providerId="ADAL" clId="{2F35BEDD-807E-4B03-8F92-ED48CD535020}" dt="2023-07-14T02:59:25.824" v="262" actId="20577"/>
          <ac:spMkLst>
            <pc:docMk/>
            <pc:sldMk cId="1796141067" sldId="2147473906"/>
            <ac:spMk id="16" creationId="{8A921BD5-71A9-3E5F-0675-BEDCEC772261}"/>
          </ac:spMkLst>
        </pc:spChg>
        <pc:spChg chg="mod">
          <ac:chgData name="Zhong, Manni" userId="4214ba18-bfe8-4d8a-ae9b-9a54aaf267f7" providerId="ADAL" clId="{2F35BEDD-807E-4B03-8F92-ED48CD535020}" dt="2023-07-14T02:48:10.188" v="168" actId="1037"/>
          <ac:spMkLst>
            <pc:docMk/>
            <pc:sldMk cId="1796141067" sldId="2147473906"/>
            <ac:spMk id="17" creationId="{00CC1C96-3641-E15F-72D6-6BB48F710E8B}"/>
          </ac:spMkLst>
        </pc:spChg>
        <pc:spChg chg="mod">
          <ac:chgData name="Zhong, Manni" userId="4214ba18-bfe8-4d8a-ae9b-9a54aaf267f7" providerId="ADAL" clId="{2F35BEDD-807E-4B03-8F92-ED48CD535020}" dt="2023-07-14T02:48:10.188" v="168" actId="1037"/>
          <ac:spMkLst>
            <pc:docMk/>
            <pc:sldMk cId="1796141067" sldId="2147473906"/>
            <ac:spMk id="46" creationId="{D123EABA-DF90-771C-7E1E-BA05BBA851ED}"/>
          </ac:spMkLst>
        </pc:spChg>
        <pc:spChg chg="mod">
          <ac:chgData name="Zhong, Manni" userId="4214ba18-bfe8-4d8a-ae9b-9a54aaf267f7" providerId="ADAL" clId="{2F35BEDD-807E-4B03-8F92-ED48CD535020}" dt="2023-07-14T02:47:27.107" v="139"/>
          <ac:spMkLst>
            <pc:docMk/>
            <pc:sldMk cId="1796141067" sldId="2147473906"/>
            <ac:spMk id="48" creationId="{6EE2FF5E-0202-CF4C-5F25-8AA661490115}"/>
          </ac:spMkLst>
        </pc:spChg>
        <pc:cxnChg chg="add del mod">
          <ac:chgData name="Zhong, Manni" userId="4214ba18-bfe8-4d8a-ae9b-9a54aaf267f7" providerId="ADAL" clId="{2F35BEDD-807E-4B03-8F92-ED48CD535020}" dt="2023-07-14T02:36:11.440" v="10" actId="478"/>
          <ac:cxnSpMkLst>
            <pc:docMk/>
            <pc:sldMk cId="1796141067" sldId="2147473906"/>
            <ac:cxnSpMk id="10" creationId="{1255816B-69A1-6621-9F0F-A0FE0283566F}"/>
          </ac:cxnSpMkLst>
        </pc:cxnChg>
      </pc:sldChg>
      <pc:sldChg chg="modSp mod">
        <pc:chgData name="Zhong, Manni" userId="4214ba18-bfe8-4d8a-ae9b-9a54aaf267f7" providerId="ADAL" clId="{2F35BEDD-807E-4B03-8F92-ED48CD535020}" dt="2023-07-14T03:00:32.394" v="266" actId="20577"/>
        <pc:sldMkLst>
          <pc:docMk/>
          <pc:sldMk cId="3468141822" sldId="2147473908"/>
        </pc:sldMkLst>
        <pc:spChg chg="mod">
          <ac:chgData name="Zhong, Manni" userId="4214ba18-bfe8-4d8a-ae9b-9a54aaf267f7" providerId="ADAL" clId="{2F35BEDD-807E-4B03-8F92-ED48CD535020}" dt="2023-07-14T03:00:32.394" v="266" actId="20577"/>
          <ac:spMkLst>
            <pc:docMk/>
            <pc:sldMk cId="3468141822" sldId="2147473908"/>
            <ac:spMk id="12" creationId="{54150D26-2414-0B78-2272-3315260C9CD2}"/>
          </ac:spMkLst>
        </pc:spChg>
        <pc:spChg chg="mod">
          <ac:chgData name="Zhong, Manni" userId="4214ba18-bfe8-4d8a-ae9b-9a54aaf267f7" providerId="ADAL" clId="{2F35BEDD-807E-4B03-8F92-ED48CD535020}" dt="2023-07-14T02:48:52.583" v="169" actId="12788"/>
          <ac:spMkLst>
            <pc:docMk/>
            <pc:sldMk cId="3468141822" sldId="2147473908"/>
            <ac:spMk id="14" creationId="{85676E9D-E7AE-427E-8163-81BB80A8A47A}"/>
          </ac:spMkLst>
        </pc:spChg>
        <pc:spChg chg="mod">
          <ac:chgData name="Zhong, Manni" userId="4214ba18-bfe8-4d8a-ae9b-9a54aaf267f7" providerId="ADAL" clId="{2F35BEDD-807E-4B03-8F92-ED48CD535020}" dt="2023-07-14T02:49:06.277" v="174" actId="1035"/>
          <ac:spMkLst>
            <pc:docMk/>
            <pc:sldMk cId="3468141822" sldId="2147473908"/>
            <ac:spMk id="24" creationId="{423C8687-1FD7-F05C-D948-5B99A6DA1532}"/>
          </ac:spMkLst>
        </pc:spChg>
        <pc:spChg chg="mod">
          <ac:chgData name="Zhong, Manni" userId="4214ba18-bfe8-4d8a-ae9b-9a54aaf267f7" providerId="ADAL" clId="{2F35BEDD-807E-4B03-8F92-ED48CD535020}" dt="2023-07-14T02:49:06.277" v="174" actId="1035"/>
          <ac:spMkLst>
            <pc:docMk/>
            <pc:sldMk cId="3468141822" sldId="2147473908"/>
            <ac:spMk id="26" creationId="{0E32A23B-4C4A-B51A-3D94-2DC672D51C2C}"/>
          </ac:spMkLst>
        </pc:spChg>
        <pc:spChg chg="mod">
          <ac:chgData name="Zhong, Manni" userId="4214ba18-bfe8-4d8a-ae9b-9a54aaf267f7" providerId="ADAL" clId="{2F35BEDD-807E-4B03-8F92-ED48CD535020}" dt="2023-07-14T02:48:52.583" v="169" actId="12788"/>
          <ac:spMkLst>
            <pc:docMk/>
            <pc:sldMk cId="3468141822" sldId="2147473908"/>
            <ac:spMk id="232" creationId="{FDABAEBC-4B89-8B72-94E3-C6DBD0E49EF2}"/>
          </ac:spMkLst>
        </pc:spChg>
        <pc:graphicFrameChg chg="mod">
          <ac:chgData name="Zhong, Manni" userId="4214ba18-bfe8-4d8a-ae9b-9a54aaf267f7" providerId="ADAL" clId="{2F35BEDD-807E-4B03-8F92-ED48CD535020}" dt="2023-07-14T02:48:52.583" v="169" actId="12788"/>
          <ac:graphicFrameMkLst>
            <pc:docMk/>
            <pc:sldMk cId="3468141822" sldId="2147473908"/>
            <ac:graphicFrameMk id="11" creationId="{516BDB8A-29B2-65BB-046C-D7B27D1A7625}"/>
          </ac:graphicFrameMkLst>
        </pc:graphicFrameChg>
      </pc:sldChg>
      <pc:sldChg chg="addSp delSp modSp mod">
        <pc:chgData name="Zhong, Manni" userId="4214ba18-bfe8-4d8a-ae9b-9a54aaf267f7" providerId="ADAL" clId="{2F35BEDD-807E-4B03-8F92-ED48CD535020}" dt="2023-07-14T02:45:40.214" v="124" actId="164"/>
        <pc:sldMkLst>
          <pc:docMk/>
          <pc:sldMk cId="891107641" sldId="2147473910"/>
        </pc:sldMkLst>
        <pc:spChg chg="mod">
          <ac:chgData name="Zhong, Manni" userId="4214ba18-bfe8-4d8a-ae9b-9a54aaf267f7" providerId="ADAL" clId="{2F35BEDD-807E-4B03-8F92-ED48CD535020}" dt="2023-07-14T02:44:54.236" v="111" actId="1038"/>
          <ac:spMkLst>
            <pc:docMk/>
            <pc:sldMk cId="891107641" sldId="2147473910"/>
            <ac:spMk id="3" creationId="{D1A99244-62D4-8C15-ABB3-F66418A940DA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4" creationId="{BEA803AC-87BF-BBEE-66AF-EFC88F73A90A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5" creationId="{F1BEF4CE-107D-7223-4887-1BDE764E3EC1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6" creationId="{1EBFBFA0-7D4A-5807-32DC-53ED4DBB7613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7" creationId="{A71777C1-47A8-5609-A7DE-81DDB3BC706B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8" creationId="{95C2D6B2-A0CF-CE84-E53A-99688513D2E2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9" creationId="{3DCC9C61-1EA6-1510-FB2A-D1409722A86C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1" creationId="{17B73061-794D-932E-EC96-D73FE303DBB6}"/>
          </ac:spMkLst>
        </pc:spChg>
        <pc:spChg chg="add del">
          <ac:chgData name="Zhong, Manni" userId="4214ba18-bfe8-4d8a-ae9b-9a54aaf267f7" providerId="ADAL" clId="{2F35BEDD-807E-4B03-8F92-ED48CD535020}" dt="2023-07-14T02:44:46.131" v="96" actId="478"/>
          <ac:spMkLst>
            <pc:docMk/>
            <pc:sldMk cId="891107641" sldId="2147473910"/>
            <ac:spMk id="12" creationId="{8908238F-CF67-4C3A-6F90-77BDB8846B23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3" creationId="{DFA32C07-5C10-5280-598F-996175BA3C2D}"/>
          </ac:spMkLst>
        </pc:spChg>
        <pc:spChg chg="add del mod">
          <ac:chgData name="Zhong, Manni" userId="4214ba18-bfe8-4d8a-ae9b-9a54aaf267f7" providerId="ADAL" clId="{2F35BEDD-807E-4B03-8F92-ED48CD535020}" dt="2023-07-14T02:45:33.670" v="123" actId="478"/>
          <ac:spMkLst>
            <pc:docMk/>
            <pc:sldMk cId="891107641" sldId="2147473910"/>
            <ac:spMk id="14" creationId="{C7F56821-EED5-68F4-2659-55C6A8C4832B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5" creationId="{EC9114B4-C8C5-0533-527A-9D0817BEE7DD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6" creationId="{92FF57EE-69E5-7F05-C207-886057A8F3AE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7" creationId="{F9D2A0D5-B9A3-7EA8-4B91-7B65508137E4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8" creationId="{E288D385-3244-243C-EF87-2E21BE451260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19" creationId="{2D80DEA1-26AE-56C4-78CB-F32551801B38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23" creationId="{02ED5DEA-D8DB-7DA2-44C5-5F2E930E594A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29" creationId="{CB79CB33-EB62-B41E-E5D4-BEA2E7B213D0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32" creationId="{13328D59-A69F-AC24-63AE-032B14B6E2D6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35" creationId="{DBF37C6B-E519-B81A-BA9D-278ED28EC20F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38" creationId="{6CE10785-3B63-B704-539F-6705F8CA709C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39" creationId="{127D61A7-8AC0-6466-346C-ACB4659D49DC}"/>
          </ac:spMkLst>
        </pc:spChg>
        <pc:spChg chg="mod">
          <ac:chgData name="Zhong, Manni" userId="4214ba18-bfe8-4d8a-ae9b-9a54aaf267f7" providerId="ADAL" clId="{2F35BEDD-807E-4B03-8F92-ED48CD535020}" dt="2023-07-14T02:45:24.599" v="121" actId="165"/>
          <ac:spMkLst>
            <pc:docMk/>
            <pc:sldMk cId="891107641" sldId="2147473910"/>
            <ac:spMk id="40" creationId="{62C88E27-F493-9483-0A98-735F8BC38CE8}"/>
          </ac:spMkLst>
        </pc:spChg>
        <pc:spChg chg="mod">
          <ac:chgData name="Zhong, Manni" userId="4214ba18-bfe8-4d8a-ae9b-9a54aaf267f7" providerId="ADAL" clId="{2F35BEDD-807E-4B03-8F92-ED48CD535020}" dt="2023-07-14T02:45:24.599" v="121" actId="165"/>
          <ac:spMkLst>
            <pc:docMk/>
            <pc:sldMk cId="891107641" sldId="2147473910"/>
            <ac:spMk id="42" creationId="{6BAC6C54-5EDC-403A-4C28-757EE1223BDA}"/>
          </ac:spMkLst>
        </pc:spChg>
        <pc:spChg chg="mod">
          <ac:chgData name="Zhong, Manni" userId="4214ba18-bfe8-4d8a-ae9b-9a54aaf267f7" providerId="ADAL" clId="{2F35BEDD-807E-4B03-8F92-ED48CD535020}" dt="2023-07-14T02:45:24.599" v="121" actId="165"/>
          <ac:spMkLst>
            <pc:docMk/>
            <pc:sldMk cId="891107641" sldId="2147473910"/>
            <ac:spMk id="43" creationId="{D1B65867-9E08-20C6-75E9-F9B1D55F8265}"/>
          </ac:spMkLst>
        </pc:spChg>
        <pc:spChg chg="mod">
          <ac:chgData name="Zhong, Manni" userId="4214ba18-bfe8-4d8a-ae9b-9a54aaf267f7" providerId="ADAL" clId="{2F35BEDD-807E-4B03-8F92-ED48CD535020}" dt="2023-07-14T02:45:24.599" v="121" actId="165"/>
          <ac:spMkLst>
            <pc:docMk/>
            <pc:sldMk cId="891107641" sldId="2147473910"/>
            <ac:spMk id="44" creationId="{3D7713B1-A42D-08E9-489B-6F4FE5A411A3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45" creationId="{B066153D-2A1E-1E52-BFBA-41C176C20532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47" creationId="{EDDD6A18-E22A-F82F-7940-2B06DBCDEBFD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49" creationId="{C6961B0D-25AF-3E7F-6FC0-55C5F399D9DF}"/>
          </ac:spMkLst>
        </pc:spChg>
        <pc:spChg chg="mod topLvl">
          <ac:chgData name="Zhong, Manni" userId="4214ba18-bfe8-4d8a-ae9b-9a54aaf267f7" providerId="ADAL" clId="{2F35BEDD-807E-4B03-8F92-ED48CD535020}" dt="2023-07-14T02:45:40.214" v="124" actId="164"/>
          <ac:spMkLst>
            <pc:docMk/>
            <pc:sldMk cId="891107641" sldId="2147473910"/>
            <ac:spMk id="52" creationId="{B3C1BE7A-1B0E-199C-26DD-A2BE763F4AB9}"/>
          </ac:spMkLst>
        </pc:spChg>
        <pc:spChg chg="mod">
          <ac:chgData name="Zhong, Manni" userId="4214ba18-bfe8-4d8a-ae9b-9a54aaf267f7" providerId="ADAL" clId="{2F35BEDD-807E-4B03-8F92-ED48CD535020}" dt="2023-07-14T02:44:24.442" v="84" actId="1037"/>
          <ac:spMkLst>
            <pc:docMk/>
            <pc:sldMk cId="891107641" sldId="2147473910"/>
            <ac:spMk id="54" creationId="{6DA5C929-C2C9-7423-560B-EB75DB2B3FE6}"/>
          </ac:spMkLst>
        </pc:spChg>
        <pc:spChg chg="add del mod">
          <ac:chgData name="Zhong, Manni" userId="4214ba18-bfe8-4d8a-ae9b-9a54aaf267f7" providerId="ADAL" clId="{2F35BEDD-807E-4B03-8F92-ED48CD535020}" dt="2023-07-14T02:44:46.131" v="96" actId="478"/>
          <ac:spMkLst>
            <pc:docMk/>
            <pc:sldMk cId="891107641" sldId="2147473910"/>
            <ac:spMk id="69" creationId="{63115CBF-7B69-8186-DFDC-604232CCE3B6}"/>
          </ac:spMkLst>
        </pc:spChg>
        <pc:spChg chg="mod">
          <ac:chgData name="Zhong, Manni" userId="4214ba18-bfe8-4d8a-ae9b-9a54aaf267f7" providerId="ADAL" clId="{2F35BEDD-807E-4B03-8F92-ED48CD535020}" dt="2023-07-14T02:44:33.566" v="92" actId="1035"/>
          <ac:spMkLst>
            <pc:docMk/>
            <pc:sldMk cId="891107641" sldId="2147473910"/>
            <ac:spMk id="74" creationId="{6936477D-DE2B-9640-BBA2-84D08BC275C6}"/>
          </ac:spMkLst>
        </pc:spChg>
        <pc:grpChg chg="mod">
          <ac:chgData name="Zhong, Manni" userId="4214ba18-bfe8-4d8a-ae9b-9a54aaf267f7" providerId="ADAL" clId="{2F35BEDD-807E-4B03-8F92-ED48CD535020}" dt="2023-07-14T02:44:45.400" v="95" actId="14100"/>
          <ac:grpSpMkLst>
            <pc:docMk/>
            <pc:sldMk cId="891107641" sldId="2147473910"/>
            <ac:grpSpMk id="2" creationId="{7CCE51C8-C7A8-14B1-13E4-39A5378F4E24}"/>
          </ac:grpSpMkLst>
        </pc:grpChg>
        <pc:grpChg chg="add mod">
          <ac:chgData name="Zhong, Manni" userId="4214ba18-bfe8-4d8a-ae9b-9a54aaf267f7" providerId="ADAL" clId="{2F35BEDD-807E-4B03-8F92-ED48CD535020}" dt="2023-07-14T02:45:40.214" v="124" actId="164"/>
          <ac:grpSpMkLst>
            <pc:docMk/>
            <pc:sldMk cId="891107641" sldId="2147473910"/>
            <ac:grpSpMk id="24" creationId="{74B79409-996F-3E95-1006-B494D1791A7E}"/>
          </ac:grpSpMkLst>
        </pc:grpChg>
        <pc:grpChg chg="mod topLvl">
          <ac:chgData name="Zhong, Manni" userId="4214ba18-bfe8-4d8a-ae9b-9a54aaf267f7" providerId="ADAL" clId="{2F35BEDD-807E-4B03-8F92-ED48CD535020}" dt="2023-07-14T02:45:40.214" v="124" actId="164"/>
          <ac:grpSpMkLst>
            <pc:docMk/>
            <pc:sldMk cId="891107641" sldId="2147473910"/>
            <ac:grpSpMk id="37" creationId="{11B683E5-6828-F05E-AB53-830F94CF38CB}"/>
          </ac:grpSpMkLst>
        </pc:grpChg>
        <pc:grpChg chg="mod">
          <ac:chgData name="Zhong, Manni" userId="4214ba18-bfe8-4d8a-ae9b-9a54aaf267f7" providerId="ADAL" clId="{2F35BEDD-807E-4B03-8F92-ED48CD535020}" dt="2023-07-14T02:44:45.400" v="95" actId="14100"/>
          <ac:grpSpMkLst>
            <pc:docMk/>
            <pc:sldMk cId="891107641" sldId="2147473910"/>
            <ac:grpSpMk id="58" creationId="{B42FE52C-760B-1F1E-9BD1-32C4006CDFE7}"/>
          </ac:grpSpMkLst>
        </pc:grpChg>
        <pc:grpChg chg="del mod">
          <ac:chgData name="Zhong, Manni" userId="4214ba18-bfe8-4d8a-ae9b-9a54aaf267f7" providerId="ADAL" clId="{2F35BEDD-807E-4B03-8F92-ED48CD535020}" dt="2023-07-14T02:45:24.599" v="121" actId="165"/>
          <ac:grpSpMkLst>
            <pc:docMk/>
            <pc:sldMk cId="891107641" sldId="2147473910"/>
            <ac:grpSpMk id="67" creationId="{658F5EF5-A3A1-52B1-1E59-C422AD950E14}"/>
          </ac:grpSpMkLst>
        </pc:grpChg>
        <pc:graphicFrameChg chg="mod">
          <ac:chgData name="Zhong, Manni" userId="4214ba18-bfe8-4d8a-ae9b-9a54aaf267f7" providerId="ADAL" clId="{2F35BEDD-807E-4B03-8F92-ED48CD535020}" dt="2023-07-14T02:44:33.566" v="92" actId="1035"/>
          <ac:graphicFrameMkLst>
            <pc:docMk/>
            <pc:sldMk cId="891107641" sldId="2147473910"/>
            <ac:graphicFrameMk id="48" creationId="{FBC8C748-D2BD-D6D6-AAE4-2A9795516059}"/>
          </ac:graphicFrameMkLst>
        </pc:graphicFrame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26" creationId="{F0666775-FF86-1AFF-73A1-134C73A173AA}"/>
          </ac:cxnSpMkLst>
        </pc:cxn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27" creationId="{2C26CB79-EF86-B547-F8B6-A9A2DE812C2C}"/>
          </ac:cxnSpMkLst>
        </pc:cxn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28" creationId="{CAA3A750-A9E9-BEE8-8B77-99E3D0E2AA98}"/>
          </ac:cxnSpMkLst>
        </pc:cxn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30" creationId="{7869297A-CC23-2EE9-7D47-06A819D48AAF}"/>
          </ac:cxnSpMkLst>
        </pc:cxn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34" creationId="{A34C71FD-B311-3C1B-6A78-7A45F782C059}"/>
          </ac:cxnSpMkLst>
        </pc:cxn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36" creationId="{54A7E2E7-9642-8158-805D-3392D3E6FDD0}"/>
          </ac:cxnSpMkLst>
        </pc:cxnChg>
        <pc:cxnChg chg="mod topLvl">
          <ac:chgData name="Zhong, Manni" userId="4214ba18-bfe8-4d8a-ae9b-9a54aaf267f7" providerId="ADAL" clId="{2F35BEDD-807E-4B03-8F92-ED48CD535020}" dt="2023-07-14T02:45:40.214" v="124" actId="164"/>
          <ac:cxnSpMkLst>
            <pc:docMk/>
            <pc:sldMk cId="891107641" sldId="2147473910"/>
            <ac:cxnSpMk id="64" creationId="{7F70231E-A261-A5FD-8C34-6448ED8AB5D1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248081841432228E-2"/>
          <c:y val="0.13978494623655913"/>
          <c:w val="0.93350383631713552"/>
          <c:h val="0.720430107526881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5.099999999999994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F4-44A4-A061-BF67DC751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0045128"/>
        <c:axId val="1"/>
      </c:barChart>
      <c:catAx>
        <c:axId val="1020045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.0999999999999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0045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248081841432228E-2"/>
          <c:y val="0.38413361169102295"/>
          <c:w val="0.93350383631713552"/>
          <c:h val="0.507306889352818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6FC-4F4F-BC1B-8DDE91F3BEB3}"/>
              </c:ext>
            </c:extLst>
          </c:dPt>
          <c:dLbls>
            <c:dLbl>
              <c:idx val="0"/>
              <c:layout>
                <c:manualLayout>
                  <c:x val="0"/>
                  <c:y val="-0.446764091858037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600" b="1" kern="1200">
                      <a:solidFill>
                        <a:srgbClr val="C00000"/>
                      </a:solidFill>
                      <a:latin typeface="微软雅黑"/>
                      <a:ea typeface="微软雅黑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6FC-4F4F-BC1B-8DDE91F3BEB3}"/>
                </c:ext>
              </c:extLst>
            </c:dLbl>
            <c:dLbl>
              <c:idx val="1"/>
              <c:layout>
                <c:manualLayout>
                  <c:x val="0"/>
                  <c:y val="-0.263048016701461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b="1" kern="120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微软雅黑"/>
                      <a:ea typeface="微软雅黑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6FC-4F4F-BC1B-8DDE91F3BE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.3</c:v>
                </c:pt>
                <c:pt idx="1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FC-4F4F-BC1B-8DDE91F3BE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71976576"/>
        <c:axId val="1"/>
      </c:barChart>
      <c:catAx>
        <c:axId val="1071976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1976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190735694822889"/>
          <c:y val="0.23"/>
          <c:w val="0.79564032697547682"/>
          <c:h val="0.704999999999999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D89-41AA-939F-F93649D20922}"/>
              </c:ext>
            </c:extLst>
          </c:dPt>
          <c:dLbls>
            <c:dLbl>
              <c:idx val="0"/>
              <c:layout>
                <c:manualLayout>
                  <c:x val="0"/>
                  <c:y val="-0.4687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600" b="1" kern="1200">
                      <a:solidFill>
                        <a:srgbClr val="C00000"/>
                      </a:solidFill>
                      <a:latin typeface="微软雅黑"/>
                      <a:ea typeface="微软雅黑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D89-41AA-939F-F93649D20922}"/>
                </c:ext>
              </c:extLst>
            </c:dLbl>
            <c:dLbl>
              <c:idx val="1"/>
              <c:layout>
                <c:manualLayout>
                  <c:x val="0"/>
                  <c:y val="-0.2750000000000000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b="1" kern="120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微软雅黑"/>
                      <a:ea typeface="微软雅黑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D89-41AA-939F-F93649D209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0.200000000000003</c:v>
                </c:pt>
                <c:pt idx="1">
                  <c:v>9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89-41AA-939F-F93649D209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9395608"/>
        <c:axId val="1"/>
      </c:barChart>
      <c:catAx>
        <c:axId val="649395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.2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9395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747553816046967"/>
          <c:y val="7.274590163934426E-2"/>
          <c:w val="0.83708414872798431"/>
          <c:h val="0.853483606557377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631147540983606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000" kern="1200">
                      <a:solidFill>
                        <a:schemeClr val="tx2"/>
                      </a:solidFill>
                      <a:latin typeface="微软雅黑"/>
                      <a:ea typeface="微软雅黑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EB-4A1F-AD24-1B45110003EC}"/>
                </c:ext>
              </c:extLst>
            </c:dLbl>
            <c:dLbl>
              <c:idx val="1"/>
              <c:layout>
                <c:manualLayout>
                  <c:x val="0"/>
                  <c:y val="-0.4149590163934426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000" kern="1200">
                      <a:solidFill>
                        <a:schemeClr val="tx2"/>
                      </a:solidFill>
                      <a:latin typeface="微软雅黑"/>
                      <a:ea typeface="微软雅黑"/>
                      <a:cs typeface="微软雅黑"/>
                      <a:sym typeface="微软雅黑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EB-4A1F-AD24-1B45110003EC}"/>
                </c:ext>
              </c:extLst>
            </c:dLbl>
            <c:dLbl>
              <c:idx val="2"/>
              <c:layout>
                <c:manualLayout>
                  <c:x val="0"/>
                  <c:y val="-0.202868852459016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000" kern="1200">
                      <a:solidFill>
                        <a:schemeClr val="tx2"/>
                      </a:solidFill>
                      <a:latin typeface="微软雅黑"/>
                      <a:ea typeface="微软雅黑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EEB-4A1F-AD24-1B45110003E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-9.3000000000000007</c:v>
                </c:pt>
                <c:pt idx="1">
                  <c:v>-8.1999999999999993</c:v>
                </c:pt>
                <c:pt idx="2">
                  <c:v>-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EB-4A1F-AD24-1B45110003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4617184"/>
        <c:axId val="1"/>
      </c:barChart>
      <c:catAx>
        <c:axId val="994617184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1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kumimoji="1" sz="1200" kern="1200">
                <a:solidFill>
                  <a:schemeClr val="accent2"/>
                </a:solidFill>
                <a:latin typeface="+mn-lt"/>
                <a:ea typeface="メイリオ"/>
                <a:cs typeface="Calibri"/>
              </a:defRPr>
            </a:pPr>
            <a:endParaRPr lang="zh-CN"/>
          </a:p>
        </c:txPr>
        <c:crossAx val="994617184"/>
        <c:crosses val="min"/>
        <c:crossBetween val="between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408874801901746E-2"/>
          <c:y val="8.2408874801901746E-2"/>
          <c:w val="0.83518225039619653"/>
          <c:h val="0.8351822503961965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B69-428A-8B52-6D23AD32FB02}"/>
              </c:ext>
            </c:extLst>
          </c:dPt>
          <c:dPt>
            <c:idx val="1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B69-428A-8B52-6D23AD32FB0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6.7</c:v>
                </c:pt>
                <c:pt idx="1">
                  <c:v>53.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69-428A-8B52-6D23AD32FB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408874801901746E-2"/>
          <c:y val="8.2408874801901746E-2"/>
          <c:w val="0.83518225039619653"/>
          <c:h val="0.8351822503961965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768-4515-A354-CB7A69CBADC2}"/>
              </c:ext>
            </c:extLst>
          </c:dPt>
          <c:dPt>
            <c:idx val="1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768-4515-A354-CB7A69CBADC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8.9</c:v>
                </c:pt>
                <c:pt idx="1">
                  <c:v>6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68-4515-A354-CB7A69CBAD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408874801901746E-2"/>
          <c:y val="8.2408874801901746E-2"/>
          <c:w val="0.83518225039619653"/>
          <c:h val="0.8351822503961965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0F4-4F62-9B39-AE43895F1A55}"/>
              </c:ext>
            </c:extLst>
          </c:dPt>
          <c:dPt>
            <c:idx val="1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0F4-4F62-9B39-AE43895F1A5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4.400000000000006</c:v>
                </c:pt>
                <c:pt idx="1">
                  <c:v>45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F4-4F62-9B39-AE43895F1A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1E1611-2ABF-45CC-9054-4F1F34E68923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FD6B05-CFB8-4B21-9472-F0F8BCC54C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596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6317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968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5699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947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6371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2099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2833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9910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6808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459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485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6350"/>
            <a:ext cx="12192000" cy="3429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566519-5BD4-474D-8621-1163859E51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424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794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997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47" imgH="346" progId="TCLayout.ActiveDocument.1">
                  <p:embed/>
                </p:oleObj>
              </mc:Choice>
              <mc:Fallback>
                <p:oleObj name="think-cell 幻灯片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00" err="1">
              <a:solidFill>
                <a:srgbClr val="4C4948"/>
              </a:solidFill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x-none" sz="800">
              <a:solidFill>
                <a:srgbClr val="808080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D46DFA-B417-462E-9890-07F0FDE4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3253" y="6625689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52CC1DF4-52CB-4859-8620-C04CC29CB794}" type="datetimeFigureOut">
              <a:rPr lang="en-US" smtClean="0"/>
              <a:pPr/>
              <a:t>35%</a:t>
            </a:fld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A381A830-CC09-48AF-9FBC-B2D334FBD4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8677" y="198650"/>
            <a:ext cx="1157879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9" name="スライド番号プレースホルダ 5">
            <a:extLst>
              <a:ext uri="{FF2B5EF4-FFF2-40B4-BE49-F238E27FC236}">
                <a16:creationId xmlns:a16="http://schemas.microsoft.com/office/drawing/2014/main" id="{F9EE2615-A085-42EC-B86B-6E3BF23D44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69503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r>
              <a:rPr lang="en-US" altLang="ja-JP" sz="900">
                <a:solidFill>
                  <a:schemeClr val="bg1">
                    <a:lumMod val="50000"/>
                  </a:schemeClr>
                </a:solidFill>
              </a:rPr>
              <a:t>    | Takeda China Aspiration Report | 12/13/2019 | Confidential for Internal Use Only</a:t>
            </a:r>
            <a:endParaRPr lang="ja-JP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スライド番号プレースホルダ 5">
            <a:extLst>
              <a:ext uri="{FF2B5EF4-FFF2-40B4-BE49-F238E27FC236}">
                <a16:creationId xmlns:a16="http://schemas.microsoft.com/office/drawing/2014/main" id="{07C607F5-7741-4A0F-A526-9A33A1F5045A}"/>
              </a:ext>
            </a:extLst>
          </p:cNvPr>
          <p:cNvSpPr txBox="1">
            <a:spLocks/>
          </p:cNvSpPr>
          <p:nvPr userDrawn="1"/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278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32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900"/>
            </a:lvl1pPr>
          </a:lstStyle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900" b="0" i="0" u="none" strike="noStrike" kern="1200" cap="none" spc="0" normalizeH="0" baseline="0" noProof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900" b="0" i="0" u="none" strike="noStrike" kern="1200" cap="none" spc="0" normalizeH="0" baseline="0" noProof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8E221-2E7A-48BA-8424-2A55A4736B68}" type="datetime1">
              <a:rPr lang="ja-JP" altLang="en-US" smtClean="0"/>
              <a:pPr/>
              <a:t>2023/7/14</a:t>
            </a:fld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646196" y="6525365"/>
            <a:ext cx="6144683" cy="196131"/>
          </a:xfrm>
        </p:spPr>
        <p:txBody>
          <a:bodyPr/>
          <a:lstStyle/>
          <a:p>
            <a:r>
              <a:rPr lang="ja-JP" altLang="en-US"/>
              <a:t>｜</a:t>
            </a:r>
            <a:r>
              <a:rPr lang="en-US" altLang="ja-JP"/>
              <a:t>Source:</a:t>
            </a:r>
            <a:endParaRPr lang="ja-JP" altLang="en-US"/>
          </a:p>
        </p:txBody>
      </p:sp>
      <p:sp>
        <p:nvSpPr>
          <p:cNvPr id="7" name="スライド番号プレースホルダ 5">
            <a:extLst>
              <a:ext uri="{FF2B5EF4-FFF2-40B4-BE49-F238E27FC236}">
                <a16:creationId xmlns:a16="http://schemas.microsoft.com/office/drawing/2014/main" id="{C9B03A70-3796-4212-B99A-AB20B8C12BAE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08854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C426B7-93F1-4BE9-9F89-6951CEF90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8F69ACE-038D-4451-9B8B-AA8D5961D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B06D5-220A-4E3C-8B27-7403082B8ACB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CB9EEE-1597-4C28-962C-556314F36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6F63CC8-B574-4BE5-AB44-933C78397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スライド番号プレースホルダ 5">
            <a:extLst>
              <a:ext uri="{FF2B5EF4-FFF2-40B4-BE49-F238E27FC236}">
                <a16:creationId xmlns:a16="http://schemas.microsoft.com/office/drawing/2014/main" id="{190B421A-1DB1-4CC5-86D2-436CB031D54B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20630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标题 28">
            <a:extLst>
              <a:ext uri="{FF2B5EF4-FFF2-40B4-BE49-F238E27FC236}">
                <a16:creationId xmlns:a16="http://schemas.microsoft.com/office/drawing/2014/main" id="{312BC764-754E-0700-92FA-1C98273B70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052" y="1499303"/>
            <a:ext cx="8865896" cy="1539616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20000"/>
              </a:lnSpc>
              <a:defRPr sz="4200" b="1">
                <a:solidFill>
                  <a:srgbClr val="D21C84"/>
                </a:solidFill>
                <a:effectLst/>
                <a:latin typeface="+mn-lt"/>
              </a:defRPr>
            </a:lvl1pPr>
          </a:lstStyle>
          <a:p>
            <a:r>
              <a:rPr lang="zh-CN" altLang="en-US"/>
              <a:t>点击输入标题</a:t>
            </a:r>
          </a:p>
        </p:txBody>
      </p:sp>
      <p:sp>
        <p:nvSpPr>
          <p:cNvPr id="36" name="文本占位符 35">
            <a:extLst>
              <a:ext uri="{FF2B5EF4-FFF2-40B4-BE49-F238E27FC236}">
                <a16:creationId xmlns:a16="http://schemas.microsoft.com/office/drawing/2014/main" id="{BDE27F86-F825-50F2-3392-B82967C35F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4660" y="4968297"/>
            <a:ext cx="5142681" cy="37323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zh-CN" altLang="en-US" sz="1800" b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zh-CN" altLang="en-US"/>
              <a:t>点击输入副标题</a:t>
            </a:r>
          </a:p>
        </p:txBody>
      </p:sp>
      <p:sp>
        <p:nvSpPr>
          <p:cNvPr id="5" name="流程图: 手动输入 26">
            <a:extLst>
              <a:ext uri="{FF2B5EF4-FFF2-40B4-BE49-F238E27FC236}">
                <a16:creationId xmlns:a16="http://schemas.microsoft.com/office/drawing/2014/main" id="{67E00397-519F-64B9-F065-D9D079CF8E1B}"/>
              </a:ext>
            </a:extLst>
          </p:cNvPr>
          <p:cNvSpPr/>
          <p:nvPr userDrawn="1"/>
        </p:nvSpPr>
        <p:spPr>
          <a:xfrm flipH="1">
            <a:off x="-2" y="4451342"/>
            <a:ext cx="12192000" cy="265928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5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2569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2569"/>
                </a:lnTo>
                <a:close/>
              </a:path>
            </a:pathLst>
          </a:custGeom>
          <a:solidFill>
            <a:srgbClr val="1E8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流程图: 手动输入 5">
            <a:extLst>
              <a:ext uri="{FF2B5EF4-FFF2-40B4-BE49-F238E27FC236}">
                <a16:creationId xmlns:a16="http://schemas.microsoft.com/office/drawing/2014/main" id="{D8F5CD24-7A91-8155-A798-4F9C24DDA426}"/>
              </a:ext>
            </a:extLst>
          </p:cNvPr>
          <p:cNvSpPr/>
          <p:nvPr userDrawn="1"/>
        </p:nvSpPr>
        <p:spPr>
          <a:xfrm>
            <a:off x="0" y="4451341"/>
            <a:ext cx="12192000" cy="2659287"/>
          </a:xfrm>
          <a:prstGeom prst="flowChartManualInput">
            <a:avLst/>
          </a:prstGeom>
          <a:solidFill>
            <a:srgbClr val="D21C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流程图: 手动输入 6">
            <a:extLst>
              <a:ext uri="{FF2B5EF4-FFF2-40B4-BE49-F238E27FC236}">
                <a16:creationId xmlns:a16="http://schemas.microsoft.com/office/drawing/2014/main" id="{53011956-A9FF-DB0D-647F-7C79E0024007}"/>
              </a:ext>
            </a:extLst>
          </p:cNvPr>
          <p:cNvSpPr/>
          <p:nvPr userDrawn="1"/>
        </p:nvSpPr>
        <p:spPr>
          <a:xfrm flipH="1">
            <a:off x="-1" y="4654455"/>
            <a:ext cx="12192000" cy="2485770"/>
          </a:xfrm>
          <a:prstGeom prst="flowChartManualInput">
            <a:avLst/>
          </a:prstGeom>
          <a:solidFill>
            <a:srgbClr val="D21C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9C4D6A6-AEC3-08C1-7DC7-24BA5837A823}"/>
              </a:ext>
            </a:extLst>
          </p:cNvPr>
          <p:cNvSpPr/>
          <p:nvPr userDrawn="1"/>
        </p:nvSpPr>
        <p:spPr>
          <a:xfrm>
            <a:off x="0" y="6858000"/>
            <a:ext cx="12192000" cy="1300333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6E49A9AE-C18A-AD49-0040-421E7650F6A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816" y="1325881"/>
            <a:ext cx="3087538" cy="1485900"/>
            <a:chOff x="6815764" y="3090146"/>
            <a:chExt cx="4992836" cy="2433732"/>
          </a:xfrm>
        </p:grpSpPr>
        <p:pic>
          <p:nvPicPr>
            <p:cNvPr id="3" name="图片 2">
              <a:extLst>
                <a:ext uri="{FF2B5EF4-FFF2-40B4-BE49-F238E27FC236}">
                  <a16:creationId xmlns:a16="http://schemas.microsoft.com/office/drawing/2014/main" id="{1AFF6EB4-08E8-C8E2-E8F4-D75D2973B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792719">
              <a:off x="6815764" y="3090146"/>
              <a:ext cx="4992836" cy="2187803"/>
            </a:xfrm>
            <a:prstGeom prst="rect">
              <a:avLst/>
            </a:prstGeom>
          </p:spPr>
        </p:pic>
        <p:pic>
          <p:nvPicPr>
            <p:cNvPr id="4" name="图片 3" descr="图片包含 游戏机&#10;&#10;描述已自动生成">
              <a:extLst>
                <a:ext uri="{FF2B5EF4-FFF2-40B4-BE49-F238E27FC236}">
                  <a16:creationId xmlns:a16="http://schemas.microsoft.com/office/drawing/2014/main" id="{D3DAC025-D6C3-94E9-1B2A-753A506559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85" t="39440" r="41162" b="24733"/>
            <a:stretch/>
          </p:blipFill>
          <p:spPr>
            <a:xfrm>
              <a:off x="9312182" y="4232819"/>
              <a:ext cx="1854886" cy="1291059"/>
            </a:xfrm>
            <a:prstGeom prst="rect">
              <a:avLst/>
            </a:prstGeom>
          </p:spPr>
        </p:pic>
      </p:grpSp>
      <p:pic>
        <p:nvPicPr>
          <p:cNvPr id="9" name="图片 8" descr="文本&#10;&#10;描述已自动生成">
            <a:extLst>
              <a:ext uri="{FF2B5EF4-FFF2-40B4-BE49-F238E27FC236}">
                <a16:creationId xmlns:a16="http://schemas.microsoft.com/office/drawing/2014/main" id="{F0FAE658-3CC5-3AF2-769E-B119963E54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9584" y="533610"/>
            <a:ext cx="3652830" cy="1955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75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矩形 23">
            <a:extLst>
              <a:ext uri="{FF2B5EF4-FFF2-40B4-BE49-F238E27FC236}">
                <a16:creationId xmlns:a16="http://schemas.microsoft.com/office/drawing/2014/main" id="{21EB23E0-AFF4-A4D4-B384-2160245C64F6}"/>
              </a:ext>
            </a:extLst>
          </p:cNvPr>
          <p:cNvSpPr/>
          <p:nvPr userDrawn="1"/>
        </p:nvSpPr>
        <p:spPr>
          <a:xfrm>
            <a:off x="0" y="-397565"/>
            <a:ext cx="318052" cy="31805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5F921929-9581-D6D4-7AF0-B73E946DCB09}"/>
              </a:ext>
            </a:extLst>
          </p:cNvPr>
          <p:cNvSpPr/>
          <p:nvPr userDrawn="1"/>
        </p:nvSpPr>
        <p:spPr>
          <a:xfrm>
            <a:off x="437322" y="-397565"/>
            <a:ext cx="318052" cy="318052"/>
          </a:xfrm>
          <a:prstGeom prst="rect">
            <a:avLst/>
          </a:prstGeom>
          <a:solidFill>
            <a:srgbClr val="C41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C6D1A343-BAF5-E95B-6E57-5CAF4201F4DE}"/>
              </a:ext>
            </a:extLst>
          </p:cNvPr>
          <p:cNvSpPr/>
          <p:nvPr userDrawn="1"/>
        </p:nvSpPr>
        <p:spPr>
          <a:xfrm>
            <a:off x="1749288" y="-397565"/>
            <a:ext cx="318052" cy="3180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75A44FB-A84F-D424-A01E-9B6BED1F46DF}"/>
              </a:ext>
            </a:extLst>
          </p:cNvPr>
          <p:cNvSpPr/>
          <p:nvPr userDrawn="1"/>
        </p:nvSpPr>
        <p:spPr>
          <a:xfrm>
            <a:off x="874644" y="-397565"/>
            <a:ext cx="318052" cy="318052"/>
          </a:xfrm>
          <a:prstGeom prst="rect">
            <a:avLst/>
          </a:prstGeom>
          <a:solidFill>
            <a:srgbClr val="F29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0BC40CFF-D66D-25AC-57B4-8CE666794E7C}"/>
              </a:ext>
            </a:extLst>
          </p:cNvPr>
          <p:cNvSpPr/>
          <p:nvPr userDrawn="1"/>
        </p:nvSpPr>
        <p:spPr>
          <a:xfrm>
            <a:off x="2186610" y="-397565"/>
            <a:ext cx="318052" cy="3180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3D896BC8-37EB-4154-61D0-7801BB40D875}"/>
              </a:ext>
            </a:extLst>
          </p:cNvPr>
          <p:cNvSpPr/>
          <p:nvPr userDrawn="1"/>
        </p:nvSpPr>
        <p:spPr>
          <a:xfrm>
            <a:off x="1311966" y="-397565"/>
            <a:ext cx="318052" cy="31805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31B1C818-77BB-8E57-6E3D-FFAD16E4DD05}"/>
              </a:ext>
            </a:extLst>
          </p:cNvPr>
          <p:cNvGrpSpPr/>
          <p:nvPr userDrawn="1"/>
        </p:nvGrpSpPr>
        <p:grpSpPr>
          <a:xfrm rot="5400000">
            <a:off x="-2907893" y="2901032"/>
            <a:ext cx="6871947" cy="1056168"/>
            <a:chOff x="-12192" y="5303968"/>
            <a:chExt cx="12216382" cy="1554031"/>
          </a:xfrm>
        </p:grpSpPr>
        <p:sp>
          <p:nvSpPr>
            <p:cNvPr id="16" name="流程图: 手动输入 26">
              <a:extLst>
                <a:ext uri="{FF2B5EF4-FFF2-40B4-BE49-F238E27FC236}">
                  <a16:creationId xmlns:a16="http://schemas.microsoft.com/office/drawing/2014/main" id="{29142954-C47F-01BF-97AB-DE4379FD16C2}"/>
                </a:ext>
              </a:extLst>
            </p:cNvPr>
            <p:cNvSpPr/>
            <p:nvPr userDrawn="1"/>
          </p:nvSpPr>
          <p:spPr>
            <a:xfrm flipH="1">
              <a:off x="-2" y="5303968"/>
              <a:ext cx="12204192" cy="1554031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00"/>
                <a:gd name="connsiteY0" fmla="*/ 2569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569 h 10000"/>
                <a:gd name="connsiteX0" fmla="*/ 0 w 10010"/>
                <a:gd name="connsiteY0" fmla="*/ 6529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652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0" y="6529"/>
                  </a:moveTo>
                  <a:lnTo>
                    <a:pt x="10010" y="0"/>
                  </a:lnTo>
                  <a:lnTo>
                    <a:pt x="10010" y="10000"/>
                  </a:lnTo>
                  <a:lnTo>
                    <a:pt x="10" y="10000"/>
                  </a:lnTo>
                  <a:cubicBezTo>
                    <a:pt x="7" y="8843"/>
                    <a:pt x="3" y="7686"/>
                    <a:pt x="0" y="6529"/>
                  </a:cubicBezTo>
                  <a:close/>
                </a:path>
              </a:pathLst>
            </a:cu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流程图: 手动输入 16">
              <a:extLst>
                <a:ext uri="{FF2B5EF4-FFF2-40B4-BE49-F238E27FC236}">
                  <a16:creationId xmlns:a16="http://schemas.microsoft.com/office/drawing/2014/main" id="{73A81DDC-7EFD-AD9D-B0B5-14E80D11516F}"/>
                </a:ext>
              </a:extLst>
            </p:cNvPr>
            <p:cNvSpPr/>
            <p:nvPr userDrawn="1"/>
          </p:nvSpPr>
          <p:spPr>
            <a:xfrm>
              <a:off x="23139" y="5451974"/>
              <a:ext cx="12168867" cy="1406025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10"/>
                <a:gd name="connsiteY0" fmla="*/ 7044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7044 h 10000"/>
                <a:gd name="connsiteX0" fmla="*/ 0 w 10010"/>
                <a:gd name="connsiteY0" fmla="*/ 5857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5857 h 10000"/>
                <a:gd name="connsiteX0" fmla="*/ 2974 w 10001"/>
                <a:gd name="connsiteY0" fmla="*/ 7266 h 10000"/>
                <a:gd name="connsiteX1" fmla="*/ 10001 w 10001"/>
                <a:gd name="connsiteY1" fmla="*/ 0 h 10000"/>
                <a:gd name="connsiteX2" fmla="*/ 10001 w 10001"/>
                <a:gd name="connsiteY2" fmla="*/ 10000 h 10000"/>
                <a:gd name="connsiteX3" fmla="*/ 1 w 10001"/>
                <a:gd name="connsiteY3" fmla="*/ 10000 h 10000"/>
                <a:gd name="connsiteX4" fmla="*/ 2974 w 10001"/>
                <a:gd name="connsiteY4" fmla="*/ 726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1" h="10000">
                  <a:moveTo>
                    <a:pt x="2974" y="7266"/>
                  </a:moveTo>
                  <a:lnTo>
                    <a:pt x="10001" y="0"/>
                  </a:lnTo>
                  <a:lnTo>
                    <a:pt x="10001" y="10000"/>
                  </a:lnTo>
                  <a:lnTo>
                    <a:pt x="1" y="10000"/>
                  </a:lnTo>
                  <a:cubicBezTo>
                    <a:pt x="-2" y="9015"/>
                    <a:pt x="2977" y="8251"/>
                    <a:pt x="2974" y="7266"/>
                  </a:cubicBezTo>
                  <a:close/>
                </a:path>
              </a:pathLst>
            </a:custGeom>
            <a:gradFill>
              <a:gsLst>
                <a:gs pos="27000">
                  <a:srgbClr val="91135B"/>
                </a:gs>
                <a:gs pos="100000">
                  <a:srgbClr val="D21C84">
                    <a:alpha val="46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流程图: 手动输入 18">
              <a:extLst>
                <a:ext uri="{FF2B5EF4-FFF2-40B4-BE49-F238E27FC236}">
                  <a16:creationId xmlns:a16="http://schemas.microsoft.com/office/drawing/2014/main" id="{8C74E0A4-1D11-34A3-6FA3-C041D30EAA47}"/>
                </a:ext>
              </a:extLst>
            </p:cNvPr>
            <p:cNvSpPr/>
            <p:nvPr userDrawn="1"/>
          </p:nvSpPr>
          <p:spPr>
            <a:xfrm flipH="1">
              <a:off x="-12192" y="5715866"/>
              <a:ext cx="12204194" cy="1142130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10"/>
                <a:gd name="connsiteY0" fmla="*/ 7205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720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0" y="7205"/>
                  </a:moveTo>
                  <a:lnTo>
                    <a:pt x="10010" y="0"/>
                  </a:lnTo>
                  <a:lnTo>
                    <a:pt x="10010" y="10000"/>
                  </a:lnTo>
                  <a:lnTo>
                    <a:pt x="10" y="10000"/>
                  </a:lnTo>
                  <a:cubicBezTo>
                    <a:pt x="7" y="9068"/>
                    <a:pt x="3" y="8137"/>
                    <a:pt x="0" y="720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91135B"/>
                </a:gs>
                <a:gs pos="100000">
                  <a:srgbClr val="D21C84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" name="灯片编号占位符 5">
            <a:extLst>
              <a:ext uri="{FF2B5EF4-FFF2-40B4-BE49-F238E27FC236}">
                <a16:creationId xmlns:a16="http://schemas.microsoft.com/office/drawing/2014/main" id="{A6E42C98-2975-FE5E-9102-8973B850A2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11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2">
            <a:extLst>
              <a:ext uri="{FF2B5EF4-FFF2-40B4-BE49-F238E27FC236}">
                <a16:creationId xmlns:a16="http://schemas.microsoft.com/office/drawing/2014/main" id="{C555BE78-512E-148A-AAFE-D86B431D0B8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7075" y="303213"/>
            <a:ext cx="869950" cy="52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27E0B4C5-599C-6561-927B-E760672253C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8113" y="687706"/>
            <a:ext cx="3087538" cy="1485900"/>
            <a:chOff x="6815764" y="3090146"/>
            <a:chExt cx="4992836" cy="2433732"/>
          </a:xfrm>
        </p:grpSpPr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7A6BB4A8-4AB0-0AC7-97D6-EB0C117CC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0792719">
              <a:off x="6815764" y="3090146"/>
              <a:ext cx="4992836" cy="2187803"/>
            </a:xfrm>
            <a:prstGeom prst="rect">
              <a:avLst/>
            </a:prstGeom>
          </p:spPr>
        </p:pic>
        <p:pic>
          <p:nvPicPr>
            <p:cNvPr id="9" name="图片 8" descr="图片包含 游戏机&#10;&#10;描述已自动生成">
              <a:extLst>
                <a:ext uri="{FF2B5EF4-FFF2-40B4-BE49-F238E27FC236}">
                  <a16:creationId xmlns:a16="http://schemas.microsoft.com/office/drawing/2014/main" id="{CD9866A1-B1C5-48E7-85E4-57766F9CF7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85" t="39440" r="41162" b="24733"/>
            <a:stretch/>
          </p:blipFill>
          <p:spPr>
            <a:xfrm>
              <a:off x="9312182" y="4232819"/>
              <a:ext cx="1854886" cy="12910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3963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直角三角形 2">
            <a:extLst>
              <a:ext uri="{FF2B5EF4-FFF2-40B4-BE49-F238E27FC236}">
                <a16:creationId xmlns:a16="http://schemas.microsoft.com/office/drawing/2014/main" id="{9339F406-80DF-138A-C712-BAC804BBFFEE}"/>
              </a:ext>
            </a:extLst>
          </p:cNvPr>
          <p:cNvSpPr/>
          <p:nvPr userDrawn="1"/>
        </p:nvSpPr>
        <p:spPr>
          <a:xfrm>
            <a:off x="-4898" y="0"/>
            <a:ext cx="12196898" cy="2183218"/>
          </a:xfrm>
          <a:prstGeom prst="rtTriangle">
            <a:avLst/>
          </a:prstGeom>
          <a:gradFill>
            <a:gsLst>
              <a:gs pos="0">
                <a:srgbClr val="D21C84"/>
              </a:gs>
              <a:gs pos="100000">
                <a:srgbClr val="C41A7D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直角三角形 26">
            <a:extLst>
              <a:ext uri="{FF2B5EF4-FFF2-40B4-BE49-F238E27FC236}">
                <a16:creationId xmlns:a16="http://schemas.microsoft.com/office/drawing/2014/main" id="{2C6BD186-DDCA-76A2-C612-544C46AA5582}"/>
              </a:ext>
            </a:extLst>
          </p:cNvPr>
          <p:cNvSpPr/>
          <p:nvPr userDrawn="1"/>
        </p:nvSpPr>
        <p:spPr>
          <a:xfrm flipH="1" flipV="1">
            <a:off x="-4898" y="0"/>
            <a:ext cx="12196898" cy="2183218"/>
          </a:xfrm>
          <a:prstGeom prst="rtTriangle">
            <a:avLst/>
          </a:prstGeom>
          <a:gradFill>
            <a:gsLst>
              <a:gs pos="0">
                <a:srgbClr val="D21C84"/>
              </a:gs>
              <a:gs pos="100000">
                <a:srgbClr val="C41A7D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占位符 4">
            <a:extLst>
              <a:ext uri="{FF2B5EF4-FFF2-40B4-BE49-F238E27FC236}">
                <a16:creationId xmlns:a16="http://schemas.microsoft.com/office/drawing/2014/main" id="{B09D498C-FD87-1E57-95CA-B09D80396E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3111" y="3028568"/>
            <a:ext cx="9865779" cy="90205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rgbClr val="D21C84"/>
                </a:solidFill>
                <a:latin typeface="+mn-lt"/>
              </a:defRPr>
            </a:lvl1pPr>
          </a:lstStyle>
          <a:p>
            <a:pPr lvl="0"/>
            <a:r>
              <a:rPr lang="zh-CN" altLang="en-US"/>
              <a:t>点击输入标题</a:t>
            </a:r>
            <a:endParaRPr lang="zh-CN" altLang="en-US" dirty="0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8591112A-7F9D-C6CA-93CE-CDA4A4E84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63263" y="288363"/>
            <a:ext cx="2065474" cy="16795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01</a:t>
            </a:r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350F39A-DD4D-A0D8-6A76-89B1352E67E3}"/>
              </a:ext>
            </a:extLst>
          </p:cNvPr>
          <p:cNvSpPr/>
          <p:nvPr userDrawn="1"/>
        </p:nvSpPr>
        <p:spPr>
          <a:xfrm>
            <a:off x="4336312" y="4553162"/>
            <a:ext cx="3519377" cy="45719"/>
          </a:xfrm>
          <a:prstGeom prst="rect">
            <a:avLst/>
          </a:prstGeom>
          <a:solidFill>
            <a:srgbClr val="1E8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灯片编号占位符 5">
            <a:extLst>
              <a:ext uri="{FF2B5EF4-FFF2-40B4-BE49-F238E27FC236}">
                <a16:creationId xmlns:a16="http://schemas.microsoft.com/office/drawing/2014/main" id="{76A0606D-B989-6E27-803B-DAD6E6DDC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11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F64A3125-3707-EB23-4A6B-BA74E9CE4C1A}"/>
              </a:ext>
            </a:extLst>
          </p:cNvPr>
          <p:cNvSpPr/>
          <p:nvPr userDrawn="1"/>
        </p:nvSpPr>
        <p:spPr>
          <a:xfrm>
            <a:off x="0" y="-422476"/>
            <a:ext cx="306729" cy="306729"/>
          </a:xfrm>
          <a:prstGeom prst="rect">
            <a:avLst/>
          </a:prstGeom>
          <a:solidFill>
            <a:srgbClr val="C41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950B886-2919-D2AE-8133-DFABECF14AF8}"/>
              </a:ext>
            </a:extLst>
          </p:cNvPr>
          <p:cNvSpPr/>
          <p:nvPr userDrawn="1"/>
        </p:nvSpPr>
        <p:spPr>
          <a:xfrm>
            <a:off x="410901" y="-422476"/>
            <a:ext cx="306729" cy="30672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 descr="文本&#10;&#10;描述已自动生成">
            <a:extLst>
              <a:ext uri="{FF2B5EF4-FFF2-40B4-BE49-F238E27FC236}">
                <a16:creationId xmlns:a16="http://schemas.microsoft.com/office/drawing/2014/main" id="{2670FA41-F063-EB98-3D04-2BDA29F5F2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0441" y="6085253"/>
            <a:ext cx="1171115" cy="712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90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一行标题+文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DB36220-1514-B3F4-2411-70ECC5B089DC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EAF6238C-F092-789D-7C01-4B11943FDF47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44FC78DA-482E-3753-4F70-398168111E47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1" name="灯片编号占位符 5">
            <a:extLst>
              <a:ext uri="{FF2B5EF4-FFF2-40B4-BE49-F238E27FC236}">
                <a16:creationId xmlns:a16="http://schemas.microsoft.com/office/drawing/2014/main" id="{224B8C01-933E-BB34-2852-F01232B01E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11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BCAFC5A9-42E8-3755-E9F5-0B62EB8EC9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225425"/>
            <a:ext cx="10282752" cy="59372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9" name="文本占位符 8">
            <a:extLst>
              <a:ext uri="{FF2B5EF4-FFF2-40B4-BE49-F238E27FC236}">
                <a16:creationId xmlns:a16="http://schemas.microsoft.com/office/drawing/2014/main" id="{2B73EB08-A8F3-CF55-ADC7-016AD6B788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6356350"/>
            <a:ext cx="8729662" cy="31273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8A3ECD23-7D27-F5E2-E08D-D9F19F92CDDE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17BD2BFD-F221-D9AC-0970-23BC6BF10056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7B476BE1-D3E9-C35C-7891-5882280BCA5B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C16B71F2-0297-E023-0C3F-FB9BBF3C19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10282336" y="5563897"/>
            <a:ext cx="2211597" cy="1186151"/>
          </a:xfrm>
          <a:prstGeom prst="rect">
            <a:avLst/>
          </a:prstGeom>
        </p:spPr>
      </p:pic>
      <p:cxnSp>
        <p:nvCxnSpPr>
          <p:cNvPr id="11" name="直接连接符 16">
            <a:extLst>
              <a:ext uri="{FF2B5EF4-FFF2-40B4-BE49-F238E27FC236}">
                <a16:creationId xmlns:a16="http://schemas.microsoft.com/office/drawing/2014/main" id="{11C28765-872B-F488-4D6B-F15D78660B7B}"/>
              </a:ext>
            </a:extLst>
          </p:cNvPr>
          <p:cNvCxnSpPr/>
          <p:nvPr userDrawn="1"/>
        </p:nvCxnSpPr>
        <p:spPr>
          <a:xfrm>
            <a:off x="438150" y="1005681"/>
            <a:ext cx="10448951" cy="0"/>
          </a:xfrm>
          <a:prstGeom prst="line">
            <a:avLst/>
          </a:prstGeom>
          <a:ln w="22225">
            <a:gradFill flip="none" rotWithShape="1">
              <a:gsLst>
                <a:gs pos="0">
                  <a:srgbClr val="777777"/>
                </a:gs>
                <a:gs pos="100000">
                  <a:srgbClr val="E7E7E7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形 3">
            <a:extLst>
              <a:ext uri="{FF2B5EF4-FFF2-40B4-BE49-F238E27FC236}">
                <a16:creationId xmlns:a16="http://schemas.microsoft.com/office/drawing/2014/main" id="{BD859891-11BF-0843-92E5-963F89B254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677" y="336766"/>
            <a:ext cx="898550" cy="4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68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9">
          <p15:clr>
            <a:srgbClr val="FBAE40"/>
          </p15:clr>
        </p15:guide>
        <p15:guide id="3" orient="horz" pos="4201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一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DB36220-1514-B3F4-2411-70ECC5B089DC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EAF6238C-F092-789D-7C01-4B11943FDF47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44FC78DA-482E-3753-4F70-398168111E47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1" name="灯片编号占位符 5">
            <a:extLst>
              <a:ext uri="{FF2B5EF4-FFF2-40B4-BE49-F238E27FC236}">
                <a16:creationId xmlns:a16="http://schemas.microsoft.com/office/drawing/2014/main" id="{224B8C01-933E-BB34-2852-F01232B01E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11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BCAFC5A9-42E8-3755-E9F5-0B62EB8EC9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2913" y="225425"/>
            <a:ext cx="9815512" cy="59372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26707746-6C04-A50D-A238-2934F2BB94DD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37DD175-6126-D6CF-086B-26CDC2C5A19D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6B87FDA3-D8DC-42EB-299D-F3CAF4FA2DC2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9" name="图片 8">
            <a:extLst>
              <a:ext uri="{FF2B5EF4-FFF2-40B4-BE49-F238E27FC236}">
                <a16:creationId xmlns:a16="http://schemas.microsoft.com/office/drawing/2014/main" id="{41AE0BD8-3E00-107F-4EC9-07843C3571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10282336" y="5563897"/>
            <a:ext cx="2211597" cy="1186151"/>
          </a:xfrm>
          <a:prstGeom prst="rect">
            <a:avLst/>
          </a:prstGeom>
        </p:spPr>
      </p:pic>
      <p:cxnSp>
        <p:nvCxnSpPr>
          <p:cNvPr id="10" name="直接连接符 16">
            <a:extLst>
              <a:ext uri="{FF2B5EF4-FFF2-40B4-BE49-F238E27FC236}">
                <a16:creationId xmlns:a16="http://schemas.microsoft.com/office/drawing/2014/main" id="{AAA378D2-6D01-BBB7-9C0A-15EC6FC5527F}"/>
              </a:ext>
            </a:extLst>
          </p:cNvPr>
          <p:cNvCxnSpPr/>
          <p:nvPr userDrawn="1"/>
        </p:nvCxnSpPr>
        <p:spPr>
          <a:xfrm>
            <a:off x="438150" y="1005681"/>
            <a:ext cx="10448951" cy="0"/>
          </a:xfrm>
          <a:prstGeom prst="line">
            <a:avLst/>
          </a:prstGeom>
          <a:ln w="22225">
            <a:gradFill flip="none" rotWithShape="1">
              <a:gsLst>
                <a:gs pos="0">
                  <a:srgbClr val="777777"/>
                </a:gs>
                <a:gs pos="100000">
                  <a:srgbClr val="E7E7E7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形 3">
            <a:extLst>
              <a:ext uri="{FF2B5EF4-FFF2-40B4-BE49-F238E27FC236}">
                <a16:creationId xmlns:a16="http://schemas.microsoft.com/office/drawing/2014/main" id="{F01E45B2-3154-74A6-7742-E6DC5471E9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677" y="336766"/>
            <a:ext cx="898550" cy="4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229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9">
          <p15:clr>
            <a:srgbClr val="FBAE40"/>
          </p15:clr>
        </p15:guide>
        <p15:guide id="3" orient="horz" pos="4201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>
            <a:extLst>
              <a:ext uri="{FF2B5EF4-FFF2-40B4-BE49-F238E27FC236}">
                <a16:creationId xmlns:a16="http://schemas.microsoft.com/office/drawing/2014/main" id="{1E027501-42AD-0FEC-891B-A0E99CDD3938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5751C3CA-ED4C-6615-7C83-344A11FFD369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DB6D1634-A10D-996D-A222-3B070E52841F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8664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rgbClr val="EE1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358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570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总结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C367AAB-4F6B-9899-63A8-F17D0C70C95E}"/>
              </a:ext>
            </a:extLst>
          </p:cNvPr>
          <p:cNvGrpSpPr/>
          <p:nvPr userDrawn="1"/>
        </p:nvGrpSpPr>
        <p:grpSpPr>
          <a:xfrm>
            <a:off x="9307033" y="-2"/>
            <a:ext cx="3629247" cy="6858003"/>
            <a:chOff x="6496618" y="930300"/>
            <a:chExt cx="7060025" cy="5927700"/>
          </a:xfrm>
        </p:grpSpPr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9478259-0364-E851-CD2A-E639A3A844D5}"/>
                </a:ext>
              </a:extLst>
            </p:cNvPr>
            <p:cNvSpPr/>
            <p:nvPr userDrawn="1"/>
          </p:nvSpPr>
          <p:spPr>
            <a:xfrm flipV="1">
              <a:off x="7369847" y="930300"/>
              <a:ext cx="4147244" cy="5927696"/>
            </a:xfrm>
            <a:custGeom>
              <a:avLst/>
              <a:gdLst>
                <a:gd name="connsiteX0" fmla="*/ 1481924 w 6678765"/>
                <a:gd name="connsiteY0" fmla="*/ 0 h 5927697"/>
                <a:gd name="connsiteX1" fmla="*/ 5433391 w 6678765"/>
                <a:gd name="connsiteY1" fmla="*/ 0 h 5927697"/>
                <a:gd name="connsiteX2" fmla="*/ 5433391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481924 w 6678765"/>
                <a:gd name="connsiteY6" fmla="*/ 0 h 5927697"/>
                <a:gd name="connsiteX0" fmla="*/ 1595338 w 6678765"/>
                <a:gd name="connsiteY0" fmla="*/ 0 h 5927697"/>
                <a:gd name="connsiteX1" fmla="*/ 5433391 w 6678765"/>
                <a:gd name="connsiteY1" fmla="*/ 0 h 5927697"/>
                <a:gd name="connsiteX2" fmla="*/ 5433391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595338 w 6678765"/>
                <a:gd name="connsiteY6" fmla="*/ 0 h 5927697"/>
                <a:gd name="connsiteX0" fmla="*/ 1 w 5083428"/>
                <a:gd name="connsiteY0" fmla="*/ 0 h 5933823"/>
                <a:gd name="connsiteX1" fmla="*/ 3838054 w 5083428"/>
                <a:gd name="connsiteY1" fmla="*/ 0 h 5933823"/>
                <a:gd name="connsiteX2" fmla="*/ 3838054 w 5083428"/>
                <a:gd name="connsiteY2" fmla="*/ 5927696 h 5933823"/>
                <a:gd name="connsiteX3" fmla="*/ 5083428 w 5083428"/>
                <a:gd name="connsiteY3" fmla="*/ 5927696 h 5933823"/>
                <a:gd name="connsiteX4" fmla="*/ 5083428 w 5083428"/>
                <a:gd name="connsiteY4" fmla="*/ 5927697 h 5933823"/>
                <a:gd name="connsiteX5" fmla="*/ 550715 w 5083428"/>
                <a:gd name="connsiteY5" fmla="*/ 5933823 h 5933823"/>
                <a:gd name="connsiteX6" fmla="*/ 1 w 5083428"/>
                <a:gd name="connsiteY6" fmla="*/ 0 h 5933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3428" h="5933823">
                  <a:moveTo>
                    <a:pt x="1" y="0"/>
                  </a:moveTo>
                  <a:lnTo>
                    <a:pt x="3838054" y="0"/>
                  </a:lnTo>
                  <a:lnTo>
                    <a:pt x="3838054" y="5927696"/>
                  </a:lnTo>
                  <a:lnTo>
                    <a:pt x="5083428" y="5927696"/>
                  </a:lnTo>
                  <a:lnTo>
                    <a:pt x="5083428" y="5927697"/>
                  </a:lnTo>
                  <a:lnTo>
                    <a:pt x="550715" y="5933823"/>
                  </a:lnTo>
                  <a:lnTo>
                    <a:pt x="1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21C84">
                    <a:alpha val="42000"/>
                  </a:srgbClr>
                </a:gs>
                <a:gs pos="56000">
                  <a:srgbClr val="D21C84">
                    <a:alpha val="0"/>
                  </a:srgbClr>
                </a:gs>
                <a:gs pos="100000">
                  <a:srgbClr val="D21C8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00F1111C-9454-A88C-CF8F-232E4C6C9B80}"/>
                </a:ext>
              </a:extLst>
            </p:cNvPr>
            <p:cNvSpPr/>
            <p:nvPr userDrawn="1"/>
          </p:nvSpPr>
          <p:spPr>
            <a:xfrm>
              <a:off x="6496618" y="930303"/>
              <a:ext cx="6940756" cy="5927697"/>
            </a:xfrm>
            <a:custGeom>
              <a:avLst/>
              <a:gdLst>
                <a:gd name="connsiteX0" fmla="*/ 1481924 w 6678765"/>
                <a:gd name="connsiteY0" fmla="*/ 0 h 5927697"/>
                <a:gd name="connsiteX1" fmla="*/ 5433391 w 6678765"/>
                <a:gd name="connsiteY1" fmla="*/ 0 h 5927697"/>
                <a:gd name="connsiteX2" fmla="*/ 5433391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481924 w 6678765"/>
                <a:gd name="connsiteY6" fmla="*/ 0 h 5927697"/>
                <a:gd name="connsiteX0" fmla="*/ 1595338 w 6678765"/>
                <a:gd name="connsiteY0" fmla="*/ 0 h 5927697"/>
                <a:gd name="connsiteX1" fmla="*/ 5433391 w 6678765"/>
                <a:gd name="connsiteY1" fmla="*/ 0 h 5927697"/>
                <a:gd name="connsiteX2" fmla="*/ 5433391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595338 w 6678765"/>
                <a:gd name="connsiteY6" fmla="*/ 0 h 592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8765" h="5927697">
                  <a:moveTo>
                    <a:pt x="1595338" y="0"/>
                  </a:moveTo>
                  <a:lnTo>
                    <a:pt x="5433391" y="0"/>
                  </a:lnTo>
                  <a:lnTo>
                    <a:pt x="5433391" y="5927696"/>
                  </a:lnTo>
                  <a:lnTo>
                    <a:pt x="6678765" y="5927696"/>
                  </a:lnTo>
                  <a:lnTo>
                    <a:pt x="6678765" y="5927697"/>
                  </a:lnTo>
                  <a:lnTo>
                    <a:pt x="0" y="5927697"/>
                  </a:lnTo>
                  <a:lnTo>
                    <a:pt x="1595338" y="0"/>
                  </a:lnTo>
                  <a:close/>
                </a:path>
              </a:pathLst>
            </a:cu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696F0F16-616E-887B-9FF5-BC1C3C87733C}"/>
                </a:ext>
              </a:extLst>
            </p:cNvPr>
            <p:cNvSpPr/>
            <p:nvPr userDrawn="1"/>
          </p:nvSpPr>
          <p:spPr>
            <a:xfrm>
              <a:off x="6877878" y="930300"/>
              <a:ext cx="6678765" cy="5927700"/>
            </a:xfrm>
            <a:custGeom>
              <a:avLst/>
              <a:gdLst>
                <a:gd name="connsiteX0" fmla="*/ 1481924 w 6678765"/>
                <a:gd name="connsiteY0" fmla="*/ 0 h 5927697"/>
                <a:gd name="connsiteX1" fmla="*/ 5314122 w 6678765"/>
                <a:gd name="connsiteY1" fmla="*/ 0 h 5927697"/>
                <a:gd name="connsiteX2" fmla="*/ 5314122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481924 w 6678765"/>
                <a:gd name="connsiteY6" fmla="*/ 0 h 592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8765" h="5927697">
                  <a:moveTo>
                    <a:pt x="1481924" y="0"/>
                  </a:moveTo>
                  <a:lnTo>
                    <a:pt x="5314122" y="0"/>
                  </a:lnTo>
                  <a:lnTo>
                    <a:pt x="5314122" y="5927696"/>
                  </a:lnTo>
                  <a:lnTo>
                    <a:pt x="6678765" y="5927696"/>
                  </a:lnTo>
                  <a:lnTo>
                    <a:pt x="6678765" y="5927697"/>
                  </a:lnTo>
                  <a:lnTo>
                    <a:pt x="0" y="5927697"/>
                  </a:lnTo>
                  <a:lnTo>
                    <a:pt x="148192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21C84"/>
                </a:gs>
                <a:gs pos="100000">
                  <a:srgbClr val="91135B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48" name="标题 28">
            <a:extLst>
              <a:ext uri="{FF2B5EF4-FFF2-40B4-BE49-F238E27FC236}">
                <a16:creationId xmlns:a16="http://schemas.microsoft.com/office/drawing/2014/main" id="{3051FA40-9402-5F64-E4D9-C1F6AF6FF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124" y="2269577"/>
            <a:ext cx="7161761" cy="1539616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20000"/>
              </a:lnSpc>
              <a:defRPr sz="3600" b="1">
                <a:solidFill>
                  <a:srgbClr val="D21C84"/>
                </a:solidFill>
                <a:effectLst/>
                <a:latin typeface="+mn-lt"/>
              </a:defRPr>
            </a:lvl1pPr>
          </a:lstStyle>
          <a:p>
            <a:pPr lvl="0"/>
            <a:r>
              <a:rPr lang="zh-CN" altLang="en-US"/>
              <a:t>点击输入标题</a:t>
            </a:r>
            <a:endParaRPr lang="zh-CN" altLang="en-US" dirty="0"/>
          </a:p>
        </p:txBody>
      </p:sp>
      <p:sp>
        <p:nvSpPr>
          <p:cNvPr id="26" name="灯片编号占位符 5">
            <a:extLst>
              <a:ext uri="{FF2B5EF4-FFF2-40B4-BE49-F238E27FC236}">
                <a16:creationId xmlns:a16="http://schemas.microsoft.com/office/drawing/2014/main" id="{6E0C0F09-E1EC-439B-26E2-15A4D1A670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11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3" name="图片 2" descr="文本&#10;&#10;描述已自动生成">
            <a:extLst>
              <a:ext uri="{FF2B5EF4-FFF2-40B4-BE49-F238E27FC236}">
                <a16:creationId xmlns:a16="http://schemas.microsoft.com/office/drawing/2014/main" id="{2E419F19-881A-8173-B815-885A35033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670" y="210745"/>
            <a:ext cx="1171115" cy="712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9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致谢页">
    <p:bg>
      <p:bgPr>
        <a:gradFill>
          <a:gsLst>
            <a:gs pos="100000">
              <a:srgbClr val="91135B"/>
            </a:gs>
            <a:gs pos="0">
              <a:srgbClr val="D21C84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框 23">
            <a:extLst>
              <a:ext uri="{FF2B5EF4-FFF2-40B4-BE49-F238E27FC236}">
                <a16:creationId xmlns:a16="http://schemas.microsoft.com/office/drawing/2014/main" id="{E51184A1-18E9-95E2-5E09-C18504414710}"/>
              </a:ext>
            </a:extLst>
          </p:cNvPr>
          <p:cNvSpPr txBox="1"/>
          <p:nvPr userDrawn="1"/>
        </p:nvSpPr>
        <p:spPr>
          <a:xfrm>
            <a:off x="4871945" y="2474198"/>
            <a:ext cx="2448107" cy="132343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rtlCol="0">
            <a:spAutoFit/>
            <a:sp3d contourW="12700">
              <a:extrusionClr>
                <a:srgbClr val="91135B"/>
              </a:extrusionClr>
              <a:contourClr>
                <a:srgbClr val="91135B"/>
              </a:contourClr>
            </a:sp3d>
          </a:bodyPr>
          <a:lstStyle/>
          <a:p>
            <a:pPr algn="ctr"/>
            <a:r>
              <a:rPr lang="zh-CN" altLang="en-US" sz="8000" b="1" i="0" dirty="0">
                <a:solidFill>
                  <a:schemeClr val="bg1"/>
                </a:solidFill>
                <a:effectLst/>
                <a:latin typeface="Agency FB" panose="020B0503020202020204" pitchFamily="34" charset="0"/>
              </a:rPr>
              <a:t>谢 谢</a:t>
            </a:r>
          </a:p>
        </p:txBody>
      </p:sp>
      <p:pic>
        <p:nvPicPr>
          <p:cNvPr id="2" name="图片 1" descr="文本&#10;&#10;描述已自动生成">
            <a:extLst>
              <a:ext uri="{FF2B5EF4-FFF2-40B4-BE49-F238E27FC236}">
                <a16:creationId xmlns:a16="http://schemas.microsoft.com/office/drawing/2014/main" id="{74CC1F12-D6E9-6951-78C9-0D0304E898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0441" y="5758552"/>
            <a:ext cx="1171115" cy="712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1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933220BD-78CD-A697-555A-2FB8FC366E97}"/>
              </a:ext>
            </a:extLst>
          </p:cNvPr>
          <p:cNvSpPr/>
          <p:nvPr userDrawn="1"/>
        </p:nvSpPr>
        <p:spPr>
          <a:xfrm>
            <a:off x="0" y="-6350"/>
            <a:ext cx="12192000" cy="687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3" name="任意多边形: 形状 2">
            <a:extLst>
              <a:ext uri="{FF2B5EF4-FFF2-40B4-BE49-F238E27FC236}">
                <a16:creationId xmlns:a16="http://schemas.microsoft.com/office/drawing/2014/main" id="{107BCD34-877D-98B1-76F2-0B630AD50A9B}"/>
              </a:ext>
            </a:extLst>
          </p:cNvPr>
          <p:cNvSpPr/>
          <p:nvPr userDrawn="1"/>
        </p:nvSpPr>
        <p:spPr>
          <a:xfrm flipH="1">
            <a:off x="0" y="4508500"/>
            <a:ext cx="12192000" cy="2349500"/>
          </a:xfrm>
          <a:custGeom>
            <a:avLst/>
            <a:gdLst>
              <a:gd name="connsiteX0" fmla="*/ 12192000 w 12192000"/>
              <a:gd name="connsiteY0" fmla="*/ 0 h 2348962"/>
              <a:gd name="connsiteX1" fmla="*/ 0 w 12192000"/>
              <a:gd name="connsiteY1" fmla="*/ 799702 h 2348962"/>
              <a:gd name="connsiteX2" fmla="*/ 0 w 12192000"/>
              <a:gd name="connsiteY2" fmla="*/ 2348962 h 2348962"/>
              <a:gd name="connsiteX3" fmla="*/ 12192000 w 12192000"/>
              <a:gd name="connsiteY3" fmla="*/ 2348962 h 2348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348962">
                <a:moveTo>
                  <a:pt x="12192000" y="0"/>
                </a:moveTo>
                <a:lnTo>
                  <a:pt x="0" y="799702"/>
                </a:lnTo>
                <a:lnTo>
                  <a:pt x="0" y="2348962"/>
                </a:lnTo>
                <a:lnTo>
                  <a:pt x="12192000" y="2348962"/>
                </a:lnTo>
                <a:close/>
              </a:path>
            </a:pathLst>
          </a:custGeom>
          <a:solidFill>
            <a:srgbClr val="B8CA3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" name="任意多边形: 形状 3">
            <a:extLst>
              <a:ext uri="{FF2B5EF4-FFF2-40B4-BE49-F238E27FC236}">
                <a16:creationId xmlns:a16="http://schemas.microsoft.com/office/drawing/2014/main" id="{472B82FA-1B96-45FF-EEE2-FEF1BE648C58}"/>
              </a:ext>
            </a:extLst>
          </p:cNvPr>
          <p:cNvSpPr/>
          <p:nvPr userDrawn="1"/>
        </p:nvSpPr>
        <p:spPr>
          <a:xfrm>
            <a:off x="0" y="4616450"/>
            <a:ext cx="12192000" cy="2241550"/>
          </a:xfrm>
          <a:custGeom>
            <a:avLst/>
            <a:gdLst>
              <a:gd name="connsiteX0" fmla="*/ 12192000 w 12192000"/>
              <a:gd name="connsiteY0" fmla="*/ 0 h 2242185"/>
              <a:gd name="connsiteX1" fmla="*/ 12192000 w 12192000"/>
              <a:gd name="connsiteY1" fmla="*/ 2242185 h 2242185"/>
              <a:gd name="connsiteX2" fmla="*/ 0 w 12192000"/>
              <a:gd name="connsiteY2" fmla="*/ 2242185 h 2242185"/>
              <a:gd name="connsiteX3" fmla="*/ 0 w 12192000"/>
              <a:gd name="connsiteY3" fmla="*/ 622554 h 2242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242185">
                <a:moveTo>
                  <a:pt x="12192000" y="0"/>
                </a:moveTo>
                <a:lnTo>
                  <a:pt x="12192000" y="2242185"/>
                </a:lnTo>
                <a:lnTo>
                  <a:pt x="0" y="2242185"/>
                </a:lnTo>
                <a:lnTo>
                  <a:pt x="0" y="622554"/>
                </a:lnTo>
                <a:close/>
              </a:path>
            </a:pathLst>
          </a:custGeom>
          <a:solidFill>
            <a:srgbClr val="D21C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B13E8024-6570-155F-EEA9-29FFB17AE93B}"/>
              </a:ext>
            </a:extLst>
          </p:cNvPr>
          <p:cNvSpPr/>
          <p:nvPr userDrawn="1"/>
        </p:nvSpPr>
        <p:spPr>
          <a:xfrm flipH="1">
            <a:off x="0" y="4711700"/>
            <a:ext cx="12192000" cy="2146300"/>
          </a:xfrm>
          <a:custGeom>
            <a:avLst/>
            <a:gdLst>
              <a:gd name="connsiteX0" fmla="*/ 12192000 w 12192000"/>
              <a:gd name="connsiteY0" fmla="*/ 0 h 2145849"/>
              <a:gd name="connsiteX1" fmla="*/ 0 w 12192000"/>
              <a:gd name="connsiteY1" fmla="*/ 581955 h 2145849"/>
              <a:gd name="connsiteX2" fmla="*/ 0 w 12192000"/>
              <a:gd name="connsiteY2" fmla="*/ 2145849 h 2145849"/>
              <a:gd name="connsiteX3" fmla="*/ 12192000 w 12192000"/>
              <a:gd name="connsiteY3" fmla="*/ 2145849 h 2145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145849">
                <a:moveTo>
                  <a:pt x="12192000" y="0"/>
                </a:moveTo>
                <a:lnTo>
                  <a:pt x="0" y="581955"/>
                </a:lnTo>
                <a:lnTo>
                  <a:pt x="0" y="2145849"/>
                </a:lnTo>
                <a:lnTo>
                  <a:pt x="12192000" y="2145849"/>
                </a:lnTo>
                <a:close/>
              </a:path>
            </a:pathLst>
          </a:custGeom>
          <a:solidFill>
            <a:srgbClr val="D21C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pic>
        <p:nvPicPr>
          <p:cNvPr id="6" name="图片 7">
            <a:extLst>
              <a:ext uri="{FF2B5EF4-FFF2-40B4-BE49-F238E27FC236}">
                <a16:creationId xmlns:a16="http://schemas.microsoft.com/office/drawing/2014/main" id="{349C32FB-BCBE-EBF8-F719-92629AEFD6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463" y="5754688"/>
            <a:ext cx="1089025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92828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35">
            <a:extLst>
              <a:ext uri="{FF2B5EF4-FFF2-40B4-BE49-F238E27FC236}">
                <a16:creationId xmlns:a16="http://schemas.microsoft.com/office/drawing/2014/main" id="{4C4F1963-5856-AD09-02EC-53727CFC4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4660" y="4968297"/>
            <a:ext cx="5142681" cy="37323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zh-CN" altLang="en-US" sz="1800" b="0" kern="120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zh-CN" altLang="en-US"/>
              <a:t>点击输入副标题</a:t>
            </a:r>
          </a:p>
        </p:txBody>
      </p:sp>
      <p:sp>
        <p:nvSpPr>
          <p:cNvPr id="11" name="流程图: 手动输入 26">
            <a:extLst>
              <a:ext uri="{FF2B5EF4-FFF2-40B4-BE49-F238E27FC236}">
                <a16:creationId xmlns:a16="http://schemas.microsoft.com/office/drawing/2014/main" id="{55086CA0-0839-6007-20EC-53486E9343E3}"/>
              </a:ext>
            </a:extLst>
          </p:cNvPr>
          <p:cNvSpPr/>
          <p:nvPr userDrawn="1"/>
        </p:nvSpPr>
        <p:spPr>
          <a:xfrm flipH="1">
            <a:off x="-2" y="4451342"/>
            <a:ext cx="12192000" cy="265928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569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5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2569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2569"/>
                </a:lnTo>
                <a:close/>
              </a:path>
            </a:pathLst>
          </a:custGeom>
          <a:solidFill>
            <a:srgbClr val="1E8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流程图: 手动输入 11">
            <a:extLst>
              <a:ext uri="{FF2B5EF4-FFF2-40B4-BE49-F238E27FC236}">
                <a16:creationId xmlns:a16="http://schemas.microsoft.com/office/drawing/2014/main" id="{34FB9A3A-F940-272B-E02A-22116E1196FF}"/>
              </a:ext>
            </a:extLst>
          </p:cNvPr>
          <p:cNvSpPr/>
          <p:nvPr userDrawn="1"/>
        </p:nvSpPr>
        <p:spPr>
          <a:xfrm>
            <a:off x="0" y="4451341"/>
            <a:ext cx="12192000" cy="2659287"/>
          </a:xfrm>
          <a:prstGeom prst="flowChartManualInput">
            <a:avLst/>
          </a:prstGeom>
          <a:solidFill>
            <a:srgbClr val="D21C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流程图: 手动输入 12">
            <a:extLst>
              <a:ext uri="{FF2B5EF4-FFF2-40B4-BE49-F238E27FC236}">
                <a16:creationId xmlns:a16="http://schemas.microsoft.com/office/drawing/2014/main" id="{84A4650B-F822-2C79-FBBA-7C0A69E50CC1}"/>
              </a:ext>
            </a:extLst>
          </p:cNvPr>
          <p:cNvSpPr/>
          <p:nvPr userDrawn="1"/>
        </p:nvSpPr>
        <p:spPr>
          <a:xfrm flipH="1">
            <a:off x="-1" y="4654455"/>
            <a:ext cx="12192000" cy="2485770"/>
          </a:xfrm>
          <a:prstGeom prst="flowChartManualInput">
            <a:avLst/>
          </a:prstGeom>
          <a:solidFill>
            <a:srgbClr val="D21C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C4DAB176-D091-369A-383E-A5418ABB5A17}"/>
              </a:ext>
            </a:extLst>
          </p:cNvPr>
          <p:cNvSpPr/>
          <p:nvPr userDrawn="1"/>
        </p:nvSpPr>
        <p:spPr>
          <a:xfrm>
            <a:off x="0" y="6858000"/>
            <a:ext cx="12192000" cy="1300333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0DD595DE-3E26-25DD-FAF3-48401141D4E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7816" y="1325881"/>
            <a:ext cx="3087538" cy="1485900"/>
            <a:chOff x="6815764" y="3090146"/>
            <a:chExt cx="4992836" cy="2433732"/>
          </a:xfrm>
        </p:grpSpPr>
        <p:pic>
          <p:nvPicPr>
            <p:cNvPr id="16" name="图片 15">
              <a:extLst>
                <a:ext uri="{FF2B5EF4-FFF2-40B4-BE49-F238E27FC236}">
                  <a16:creationId xmlns:a16="http://schemas.microsoft.com/office/drawing/2014/main" id="{F7CE0C55-A07A-55F4-754A-D5085A906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792719">
              <a:off x="6815764" y="3090146"/>
              <a:ext cx="4992836" cy="2187803"/>
            </a:xfrm>
            <a:prstGeom prst="rect">
              <a:avLst/>
            </a:prstGeom>
          </p:spPr>
        </p:pic>
        <p:pic>
          <p:nvPicPr>
            <p:cNvPr id="17" name="图片 16" descr="图片包含 游戏机&#10;&#10;描述已自动生成">
              <a:extLst>
                <a:ext uri="{FF2B5EF4-FFF2-40B4-BE49-F238E27FC236}">
                  <a16:creationId xmlns:a16="http://schemas.microsoft.com/office/drawing/2014/main" id="{0EE3FE98-C308-A128-3B6C-992B30903A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85" t="39440" r="41162" b="24733"/>
            <a:stretch/>
          </p:blipFill>
          <p:spPr>
            <a:xfrm>
              <a:off x="9312182" y="4232819"/>
              <a:ext cx="1854886" cy="1291059"/>
            </a:xfrm>
            <a:prstGeom prst="rect">
              <a:avLst/>
            </a:prstGeom>
          </p:spPr>
        </p:pic>
      </p:grpSp>
      <p:pic>
        <p:nvPicPr>
          <p:cNvPr id="18" name="图片 17" descr="文本&#10;&#10;描述已自动生成">
            <a:extLst>
              <a:ext uri="{FF2B5EF4-FFF2-40B4-BE49-F238E27FC236}">
                <a16:creationId xmlns:a16="http://schemas.microsoft.com/office/drawing/2014/main" id="{262621BB-FF39-D05E-1FFE-8D260A437F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9584" y="533610"/>
            <a:ext cx="3652830" cy="1955626"/>
          </a:xfrm>
          <a:prstGeom prst="rect">
            <a:avLst/>
          </a:prstGeom>
        </p:spPr>
      </p:pic>
      <p:pic>
        <p:nvPicPr>
          <p:cNvPr id="2" name="图形 3">
            <a:extLst>
              <a:ext uri="{FF2B5EF4-FFF2-40B4-BE49-F238E27FC236}">
                <a16:creationId xmlns:a16="http://schemas.microsoft.com/office/drawing/2014/main" id="{0C285677-3092-AC5A-1956-08987048DE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77662" y="5806384"/>
            <a:ext cx="1236676" cy="61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418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9AC20380-D289-78EF-C213-55B908233A3C}"/>
              </a:ext>
            </a:extLst>
          </p:cNvPr>
          <p:cNvSpPr/>
          <p:nvPr userDrawn="1"/>
        </p:nvSpPr>
        <p:spPr>
          <a:xfrm>
            <a:off x="0" y="-397565"/>
            <a:ext cx="318052" cy="31805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2C887CAE-BB1B-27A9-CFF5-D507BBDB0B1B}"/>
              </a:ext>
            </a:extLst>
          </p:cNvPr>
          <p:cNvSpPr/>
          <p:nvPr userDrawn="1"/>
        </p:nvSpPr>
        <p:spPr>
          <a:xfrm>
            <a:off x="437322" y="-397565"/>
            <a:ext cx="318052" cy="318052"/>
          </a:xfrm>
          <a:prstGeom prst="rect">
            <a:avLst/>
          </a:prstGeom>
          <a:solidFill>
            <a:srgbClr val="C41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BB747CC4-221B-C97D-0C8E-B4E6F9E77EC7}"/>
              </a:ext>
            </a:extLst>
          </p:cNvPr>
          <p:cNvSpPr/>
          <p:nvPr userDrawn="1"/>
        </p:nvSpPr>
        <p:spPr>
          <a:xfrm>
            <a:off x="1749288" y="-397565"/>
            <a:ext cx="318052" cy="3180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C60438B1-23D9-891C-0326-545AB6B8BB4E}"/>
              </a:ext>
            </a:extLst>
          </p:cNvPr>
          <p:cNvSpPr/>
          <p:nvPr userDrawn="1"/>
        </p:nvSpPr>
        <p:spPr>
          <a:xfrm>
            <a:off x="874644" y="-397565"/>
            <a:ext cx="318052" cy="318052"/>
          </a:xfrm>
          <a:prstGeom prst="rect">
            <a:avLst/>
          </a:prstGeom>
          <a:solidFill>
            <a:srgbClr val="F29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68E98478-41CE-8979-51F8-A88572A519A6}"/>
              </a:ext>
            </a:extLst>
          </p:cNvPr>
          <p:cNvSpPr/>
          <p:nvPr userDrawn="1"/>
        </p:nvSpPr>
        <p:spPr>
          <a:xfrm>
            <a:off x="2186610" y="-397565"/>
            <a:ext cx="318052" cy="3180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2E25918-9FD8-DBA2-CC96-13B7C1A87FA6}"/>
              </a:ext>
            </a:extLst>
          </p:cNvPr>
          <p:cNvSpPr/>
          <p:nvPr userDrawn="1"/>
        </p:nvSpPr>
        <p:spPr>
          <a:xfrm>
            <a:off x="1311966" y="-397565"/>
            <a:ext cx="318052" cy="31805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8CF49375-E9AB-D7A0-2863-F7A95ADE9D60}"/>
              </a:ext>
            </a:extLst>
          </p:cNvPr>
          <p:cNvGrpSpPr/>
          <p:nvPr userDrawn="1"/>
        </p:nvGrpSpPr>
        <p:grpSpPr>
          <a:xfrm rot="5400000">
            <a:off x="-2907893" y="2901032"/>
            <a:ext cx="6871947" cy="1056168"/>
            <a:chOff x="-12192" y="5303968"/>
            <a:chExt cx="12216382" cy="1554031"/>
          </a:xfrm>
        </p:grpSpPr>
        <p:sp>
          <p:nvSpPr>
            <p:cNvPr id="21" name="流程图: 手动输入 26">
              <a:extLst>
                <a:ext uri="{FF2B5EF4-FFF2-40B4-BE49-F238E27FC236}">
                  <a16:creationId xmlns:a16="http://schemas.microsoft.com/office/drawing/2014/main" id="{58D0877D-1488-623B-05E2-7EDBEB315229}"/>
                </a:ext>
              </a:extLst>
            </p:cNvPr>
            <p:cNvSpPr/>
            <p:nvPr userDrawn="1"/>
          </p:nvSpPr>
          <p:spPr>
            <a:xfrm flipH="1">
              <a:off x="-2" y="5303968"/>
              <a:ext cx="12204192" cy="1554031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00"/>
                <a:gd name="connsiteY0" fmla="*/ 2569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569 h 10000"/>
                <a:gd name="connsiteX0" fmla="*/ 0 w 10010"/>
                <a:gd name="connsiteY0" fmla="*/ 6529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652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0" y="6529"/>
                  </a:moveTo>
                  <a:lnTo>
                    <a:pt x="10010" y="0"/>
                  </a:lnTo>
                  <a:lnTo>
                    <a:pt x="10010" y="10000"/>
                  </a:lnTo>
                  <a:lnTo>
                    <a:pt x="10" y="10000"/>
                  </a:lnTo>
                  <a:cubicBezTo>
                    <a:pt x="7" y="8843"/>
                    <a:pt x="3" y="7686"/>
                    <a:pt x="0" y="6529"/>
                  </a:cubicBezTo>
                  <a:close/>
                </a:path>
              </a:pathLst>
            </a:cu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流程图: 手动输入 16">
              <a:extLst>
                <a:ext uri="{FF2B5EF4-FFF2-40B4-BE49-F238E27FC236}">
                  <a16:creationId xmlns:a16="http://schemas.microsoft.com/office/drawing/2014/main" id="{39B9124D-D9AA-89D4-AA57-6590BB6A6834}"/>
                </a:ext>
              </a:extLst>
            </p:cNvPr>
            <p:cNvSpPr/>
            <p:nvPr userDrawn="1"/>
          </p:nvSpPr>
          <p:spPr>
            <a:xfrm>
              <a:off x="23139" y="5451974"/>
              <a:ext cx="12168867" cy="1406025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10"/>
                <a:gd name="connsiteY0" fmla="*/ 7044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7044 h 10000"/>
                <a:gd name="connsiteX0" fmla="*/ 0 w 10010"/>
                <a:gd name="connsiteY0" fmla="*/ 5857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5857 h 10000"/>
                <a:gd name="connsiteX0" fmla="*/ 2974 w 10001"/>
                <a:gd name="connsiteY0" fmla="*/ 7266 h 10000"/>
                <a:gd name="connsiteX1" fmla="*/ 10001 w 10001"/>
                <a:gd name="connsiteY1" fmla="*/ 0 h 10000"/>
                <a:gd name="connsiteX2" fmla="*/ 10001 w 10001"/>
                <a:gd name="connsiteY2" fmla="*/ 10000 h 10000"/>
                <a:gd name="connsiteX3" fmla="*/ 1 w 10001"/>
                <a:gd name="connsiteY3" fmla="*/ 10000 h 10000"/>
                <a:gd name="connsiteX4" fmla="*/ 2974 w 10001"/>
                <a:gd name="connsiteY4" fmla="*/ 726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1" h="10000">
                  <a:moveTo>
                    <a:pt x="2974" y="7266"/>
                  </a:moveTo>
                  <a:lnTo>
                    <a:pt x="10001" y="0"/>
                  </a:lnTo>
                  <a:lnTo>
                    <a:pt x="10001" y="10000"/>
                  </a:lnTo>
                  <a:lnTo>
                    <a:pt x="1" y="10000"/>
                  </a:lnTo>
                  <a:cubicBezTo>
                    <a:pt x="-2" y="9015"/>
                    <a:pt x="2977" y="8251"/>
                    <a:pt x="2974" y="7266"/>
                  </a:cubicBezTo>
                  <a:close/>
                </a:path>
              </a:pathLst>
            </a:custGeom>
            <a:gradFill>
              <a:gsLst>
                <a:gs pos="27000">
                  <a:srgbClr val="91135B"/>
                </a:gs>
                <a:gs pos="100000">
                  <a:srgbClr val="D21C84">
                    <a:alpha val="46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流程图: 手动输入 18">
              <a:extLst>
                <a:ext uri="{FF2B5EF4-FFF2-40B4-BE49-F238E27FC236}">
                  <a16:creationId xmlns:a16="http://schemas.microsoft.com/office/drawing/2014/main" id="{DE2CD2FF-7C5E-21E4-E904-F0C0F036FE84}"/>
                </a:ext>
              </a:extLst>
            </p:cNvPr>
            <p:cNvSpPr/>
            <p:nvPr userDrawn="1"/>
          </p:nvSpPr>
          <p:spPr>
            <a:xfrm flipH="1">
              <a:off x="-12192" y="5715866"/>
              <a:ext cx="12204194" cy="1142130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10"/>
                <a:gd name="connsiteY0" fmla="*/ 7205 h 10000"/>
                <a:gd name="connsiteX1" fmla="*/ 10010 w 10010"/>
                <a:gd name="connsiteY1" fmla="*/ 0 h 10000"/>
                <a:gd name="connsiteX2" fmla="*/ 10010 w 10010"/>
                <a:gd name="connsiteY2" fmla="*/ 10000 h 10000"/>
                <a:gd name="connsiteX3" fmla="*/ 10 w 10010"/>
                <a:gd name="connsiteY3" fmla="*/ 10000 h 10000"/>
                <a:gd name="connsiteX4" fmla="*/ 0 w 10010"/>
                <a:gd name="connsiteY4" fmla="*/ 720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0" y="7205"/>
                  </a:moveTo>
                  <a:lnTo>
                    <a:pt x="10010" y="0"/>
                  </a:lnTo>
                  <a:lnTo>
                    <a:pt x="10010" y="10000"/>
                  </a:lnTo>
                  <a:lnTo>
                    <a:pt x="10" y="10000"/>
                  </a:lnTo>
                  <a:cubicBezTo>
                    <a:pt x="7" y="9068"/>
                    <a:pt x="3" y="8137"/>
                    <a:pt x="0" y="720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91135B"/>
                </a:gs>
                <a:gs pos="100000">
                  <a:srgbClr val="D21C84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93EB324F-9859-7188-1A5F-836EDF69C36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8113" y="687706"/>
            <a:ext cx="3087538" cy="1485900"/>
            <a:chOff x="6815764" y="3090146"/>
            <a:chExt cx="4992836" cy="2433732"/>
          </a:xfrm>
        </p:grpSpPr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7BA513BE-B83F-4F98-7AFD-EDC6F33F9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792719">
              <a:off x="6815764" y="3090146"/>
              <a:ext cx="4992836" cy="2187803"/>
            </a:xfrm>
            <a:prstGeom prst="rect">
              <a:avLst/>
            </a:prstGeom>
          </p:spPr>
        </p:pic>
        <p:pic>
          <p:nvPicPr>
            <p:cNvPr id="27" name="图片 26" descr="图片包含 游戏机&#10;&#10;描述已自动生成">
              <a:extLst>
                <a:ext uri="{FF2B5EF4-FFF2-40B4-BE49-F238E27FC236}">
                  <a16:creationId xmlns:a16="http://schemas.microsoft.com/office/drawing/2014/main" id="{938F9046-FEF7-93EC-B381-BDB78C9BAC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85" t="39440" r="41162" b="24733"/>
            <a:stretch/>
          </p:blipFill>
          <p:spPr>
            <a:xfrm>
              <a:off x="9312182" y="4232819"/>
              <a:ext cx="1854886" cy="1291059"/>
            </a:xfrm>
            <a:prstGeom prst="rect">
              <a:avLst/>
            </a:prstGeom>
          </p:spPr>
        </p:pic>
      </p:grpSp>
      <p:pic>
        <p:nvPicPr>
          <p:cNvPr id="2" name="图形 1">
            <a:extLst>
              <a:ext uri="{FF2B5EF4-FFF2-40B4-BE49-F238E27FC236}">
                <a16:creationId xmlns:a16="http://schemas.microsoft.com/office/drawing/2014/main" id="{5F57D547-73BC-6B80-178E-85BC75C2A0B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1677" y="336766"/>
            <a:ext cx="898550" cy="4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517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一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447160" y="296864"/>
            <a:ext cx="9713913" cy="53975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tx1"/>
                </a:solidFill>
                <a:latin typeface="+mj-lt"/>
                <a:ea typeface="+mj-ea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CDDE7D4A-C0F0-A7AB-20B0-F060CA293958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AA359D26-C6ED-0120-4D18-6DE5AB5D1E1E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52E74439-FD1E-BDF6-F1C4-071E80AF4E88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3F2BC74-A9FE-1986-664E-6F45C7DA4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11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93EBF436-8BFF-87AB-60C8-BDBEA7485E03}"/>
              </a:ext>
            </a:extLst>
          </p:cNvPr>
          <p:cNvGrpSpPr/>
          <p:nvPr userDrawn="1"/>
        </p:nvGrpSpPr>
        <p:grpSpPr>
          <a:xfrm rot="16200000">
            <a:off x="6019835" y="696508"/>
            <a:ext cx="152332" cy="12192002"/>
            <a:chOff x="0" y="0"/>
            <a:chExt cx="166245" cy="6858000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F3606E0-9A51-E74A-A555-0A9804F83607}"/>
                </a:ext>
              </a:extLst>
            </p:cNvPr>
            <p:cNvSpPr/>
            <p:nvPr userDrawn="1"/>
          </p:nvSpPr>
          <p:spPr>
            <a:xfrm>
              <a:off x="0" y="0"/>
              <a:ext cx="113414" cy="6858000"/>
            </a:xfrm>
            <a:prstGeom prst="rect">
              <a:avLst/>
            </a:prstGeom>
            <a:solidFill>
              <a:srgbClr val="D21C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88056828-7FC6-A201-3149-388F2210DC84}"/>
                </a:ext>
              </a:extLst>
            </p:cNvPr>
            <p:cNvSpPr/>
            <p:nvPr userDrawn="1"/>
          </p:nvSpPr>
          <p:spPr>
            <a:xfrm>
              <a:off x="113414" y="0"/>
              <a:ext cx="52831" cy="6858000"/>
            </a:xfrm>
            <a:prstGeom prst="rect">
              <a:avLst/>
            </a:prstGeom>
            <a:solidFill>
              <a:srgbClr val="1E8C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53DC475B-3E08-951B-B017-6FC78C99D1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10282336" y="5563897"/>
            <a:ext cx="2211597" cy="1186151"/>
          </a:xfrm>
          <a:prstGeom prst="rect">
            <a:avLst/>
          </a:prstGeom>
        </p:spPr>
      </p:pic>
      <p:cxnSp>
        <p:nvCxnSpPr>
          <p:cNvPr id="11" name="直接连接符 16">
            <a:extLst>
              <a:ext uri="{FF2B5EF4-FFF2-40B4-BE49-F238E27FC236}">
                <a16:creationId xmlns:a16="http://schemas.microsoft.com/office/drawing/2014/main" id="{E1E0B7D3-2463-2656-12F2-049935257696}"/>
              </a:ext>
            </a:extLst>
          </p:cNvPr>
          <p:cNvCxnSpPr/>
          <p:nvPr userDrawn="1"/>
        </p:nvCxnSpPr>
        <p:spPr>
          <a:xfrm>
            <a:off x="438150" y="1005681"/>
            <a:ext cx="10448951" cy="0"/>
          </a:xfrm>
          <a:prstGeom prst="line">
            <a:avLst/>
          </a:prstGeom>
          <a:ln w="22225">
            <a:gradFill flip="none" rotWithShape="1">
              <a:gsLst>
                <a:gs pos="0">
                  <a:srgbClr val="777777"/>
                </a:gs>
                <a:gs pos="100000">
                  <a:srgbClr val="E7E7E7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形 12">
            <a:extLst>
              <a:ext uri="{FF2B5EF4-FFF2-40B4-BE49-F238E27FC236}">
                <a16:creationId xmlns:a16="http://schemas.microsoft.com/office/drawing/2014/main" id="{4D6D0145-D576-25C1-83F9-67F4BB9C62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677" y="336766"/>
            <a:ext cx="898550" cy="4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91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07795BE8-2F28-5576-3EBC-3B79B059DF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532"/>
          <a:stretch/>
        </p:blipFill>
        <p:spPr>
          <a:xfrm>
            <a:off x="0" y="-38100"/>
            <a:ext cx="12220832" cy="6921956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C489D078-8EDD-F45F-7044-2284DA4617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0000"/>
          </a:blip>
          <a:stretch>
            <a:fillRect/>
          </a:stretch>
        </p:blipFill>
        <p:spPr>
          <a:xfrm>
            <a:off x="10549051" y="5750519"/>
            <a:ext cx="1761897" cy="944962"/>
          </a:xfrm>
          <a:prstGeom prst="rect">
            <a:avLst/>
          </a:prstGeom>
        </p:spPr>
      </p:pic>
      <p:pic>
        <p:nvPicPr>
          <p:cNvPr id="2" name="图片 1" descr="图片包含 户外, 飞机, 飞行, 云&#10;&#10;描述已自动生成">
            <a:extLst>
              <a:ext uri="{FF2B5EF4-FFF2-40B4-BE49-F238E27FC236}">
                <a16:creationId xmlns:a16="http://schemas.microsoft.com/office/drawing/2014/main" id="{0102B5AD-5417-9DA3-AC7F-678C86466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7730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标题幻灯片">
    <p:bg>
      <p:bgPr>
        <a:gradFill rotWithShape="0">
          <a:gsLst>
            <a:gs pos="0">
              <a:srgbClr val="D21C84"/>
            </a:gs>
            <a:gs pos="100000">
              <a:srgbClr val="91135B"/>
            </a:gs>
          </a:gsLst>
          <a:lin ang="18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54906A84-FAC1-39EB-FC29-C25D297A7D57}"/>
              </a:ext>
            </a:extLst>
          </p:cNvPr>
          <p:cNvSpPr txBox="1"/>
          <p:nvPr userDrawn="1"/>
        </p:nvSpPr>
        <p:spPr>
          <a:xfrm>
            <a:off x="4871945" y="2474198"/>
            <a:ext cx="2448107" cy="1323439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rtlCol="0">
            <a:spAutoFit/>
            <a:sp3d contourW="12700">
              <a:extrusionClr>
                <a:srgbClr val="91135B"/>
              </a:extrusionClr>
              <a:contourClr>
                <a:srgbClr val="91135B"/>
              </a:contourClr>
            </a:sp3d>
          </a:bodyPr>
          <a:lstStyle/>
          <a:p>
            <a:pPr algn="ctr"/>
            <a:r>
              <a:rPr lang="zh-CN" altLang="en-US" sz="8000" b="1" dirty="0">
                <a:solidFill>
                  <a:srgbClr val="FFFFFF"/>
                </a:solidFill>
                <a:latin typeface="Agency FB" panose="020B0503020202020204" pitchFamily="34" charset="0"/>
              </a:rPr>
              <a:t>谢 谢</a:t>
            </a:r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5DD23760-4567-E13A-CA16-C4B342DBC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1625" y="5271508"/>
            <a:ext cx="1428750" cy="708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340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BAB16738-DC8E-4ECD-4B9D-8CF471DDE856}"/>
              </a:ext>
            </a:extLst>
          </p:cNvPr>
          <p:cNvSpPr/>
          <p:nvPr userDrawn="1"/>
        </p:nvSpPr>
        <p:spPr>
          <a:xfrm>
            <a:off x="0" y="-6350"/>
            <a:ext cx="12192000" cy="6870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3" name="组合 3">
            <a:extLst>
              <a:ext uri="{FF2B5EF4-FFF2-40B4-BE49-F238E27FC236}">
                <a16:creationId xmlns:a16="http://schemas.microsoft.com/office/drawing/2014/main" id="{02FCFB06-2136-FA7E-268C-9ABA3782D20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307513" y="0"/>
            <a:ext cx="3629025" cy="6858000"/>
            <a:chOff x="6496618" y="930300"/>
            <a:chExt cx="7060025" cy="5927700"/>
          </a:xfrm>
        </p:grpSpPr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97E3C45E-FD6A-4F20-8628-2606ABB93365}"/>
                </a:ext>
              </a:extLst>
            </p:cNvPr>
            <p:cNvSpPr/>
            <p:nvPr userDrawn="1"/>
          </p:nvSpPr>
          <p:spPr>
            <a:xfrm flipV="1">
              <a:off x="7369847" y="930300"/>
              <a:ext cx="4147244" cy="5927696"/>
            </a:xfrm>
            <a:custGeom>
              <a:avLst/>
              <a:gdLst>
                <a:gd name="connsiteX0" fmla="*/ 1481924 w 6678765"/>
                <a:gd name="connsiteY0" fmla="*/ 0 h 5927697"/>
                <a:gd name="connsiteX1" fmla="*/ 5433391 w 6678765"/>
                <a:gd name="connsiteY1" fmla="*/ 0 h 5927697"/>
                <a:gd name="connsiteX2" fmla="*/ 5433391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481924 w 6678765"/>
                <a:gd name="connsiteY6" fmla="*/ 0 h 5927697"/>
                <a:gd name="connsiteX0-1" fmla="*/ 1595338 w 6678765"/>
                <a:gd name="connsiteY0-2" fmla="*/ 0 h 5927697"/>
                <a:gd name="connsiteX1-3" fmla="*/ 5433391 w 6678765"/>
                <a:gd name="connsiteY1-4" fmla="*/ 0 h 5927697"/>
                <a:gd name="connsiteX2-5" fmla="*/ 5433391 w 6678765"/>
                <a:gd name="connsiteY2-6" fmla="*/ 5927696 h 5927697"/>
                <a:gd name="connsiteX3-7" fmla="*/ 6678765 w 6678765"/>
                <a:gd name="connsiteY3-8" fmla="*/ 5927696 h 5927697"/>
                <a:gd name="connsiteX4-9" fmla="*/ 6678765 w 6678765"/>
                <a:gd name="connsiteY4-10" fmla="*/ 5927697 h 5927697"/>
                <a:gd name="connsiteX5-11" fmla="*/ 0 w 6678765"/>
                <a:gd name="connsiteY5-12" fmla="*/ 5927697 h 5927697"/>
                <a:gd name="connsiteX6-13" fmla="*/ 1595338 w 6678765"/>
                <a:gd name="connsiteY6-14" fmla="*/ 0 h 5927697"/>
                <a:gd name="connsiteX0-15" fmla="*/ 1 w 5083428"/>
                <a:gd name="connsiteY0-16" fmla="*/ 0 h 5933823"/>
                <a:gd name="connsiteX1-17" fmla="*/ 3838054 w 5083428"/>
                <a:gd name="connsiteY1-18" fmla="*/ 0 h 5933823"/>
                <a:gd name="connsiteX2-19" fmla="*/ 3838054 w 5083428"/>
                <a:gd name="connsiteY2-20" fmla="*/ 5927696 h 5933823"/>
                <a:gd name="connsiteX3-21" fmla="*/ 5083428 w 5083428"/>
                <a:gd name="connsiteY3-22" fmla="*/ 5927696 h 5933823"/>
                <a:gd name="connsiteX4-23" fmla="*/ 5083428 w 5083428"/>
                <a:gd name="connsiteY4-24" fmla="*/ 5927697 h 5933823"/>
                <a:gd name="connsiteX5-25" fmla="*/ 550715 w 5083428"/>
                <a:gd name="connsiteY5-26" fmla="*/ 5933823 h 5933823"/>
                <a:gd name="connsiteX6-27" fmla="*/ 1 w 5083428"/>
                <a:gd name="connsiteY6-28" fmla="*/ 0 h 593382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5083428" h="5933823">
                  <a:moveTo>
                    <a:pt x="1" y="0"/>
                  </a:moveTo>
                  <a:lnTo>
                    <a:pt x="3838054" y="0"/>
                  </a:lnTo>
                  <a:lnTo>
                    <a:pt x="3838054" y="5927696"/>
                  </a:lnTo>
                  <a:lnTo>
                    <a:pt x="5083428" y="5927696"/>
                  </a:lnTo>
                  <a:lnTo>
                    <a:pt x="5083428" y="5927697"/>
                  </a:lnTo>
                  <a:lnTo>
                    <a:pt x="550715" y="5933823"/>
                  </a:lnTo>
                  <a:lnTo>
                    <a:pt x="1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21C84">
                    <a:alpha val="42000"/>
                  </a:srgbClr>
                </a:gs>
                <a:gs pos="56000">
                  <a:srgbClr val="D21C84">
                    <a:alpha val="0"/>
                  </a:srgbClr>
                </a:gs>
                <a:gs pos="100000">
                  <a:srgbClr val="D21C84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DB74750E-B58C-1532-5AA3-45962673959C}"/>
                </a:ext>
              </a:extLst>
            </p:cNvPr>
            <p:cNvSpPr/>
            <p:nvPr userDrawn="1"/>
          </p:nvSpPr>
          <p:spPr>
            <a:xfrm>
              <a:off x="6496618" y="930300"/>
              <a:ext cx="6939577" cy="5927700"/>
            </a:xfrm>
            <a:custGeom>
              <a:avLst/>
              <a:gdLst>
                <a:gd name="connsiteX0" fmla="*/ 1481924 w 6678765"/>
                <a:gd name="connsiteY0" fmla="*/ 0 h 5927697"/>
                <a:gd name="connsiteX1" fmla="*/ 5433391 w 6678765"/>
                <a:gd name="connsiteY1" fmla="*/ 0 h 5927697"/>
                <a:gd name="connsiteX2" fmla="*/ 5433391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481924 w 6678765"/>
                <a:gd name="connsiteY6" fmla="*/ 0 h 5927697"/>
                <a:gd name="connsiteX0-1" fmla="*/ 1595338 w 6678765"/>
                <a:gd name="connsiteY0-2" fmla="*/ 0 h 5927697"/>
                <a:gd name="connsiteX1-3" fmla="*/ 5433391 w 6678765"/>
                <a:gd name="connsiteY1-4" fmla="*/ 0 h 5927697"/>
                <a:gd name="connsiteX2-5" fmla="*/ 5433391 w 6678765"/>
                <a:gd name="connsiteY2-6" fmla="*/ 5927696 h 5927697"/>
                <a:gd name="connsiteX3-7" fmla="*/ 6678765 w 6678765"/>
                <a:gd name="connsiteY3-8" fmla="*/ 5927696 h 5927697"/>
                <a:gd name="connsiteX4-9" fmla="*/ 6678765 w 6678765"/>
                <a:gd name="connsiteY4-10" fmla="*/ 5927697 h 5927697"/>
                <a:gd name="connsiteX5-11" fmla="*/ 0 w 6678765"/>
                <a:gd name="connsiteY5-12" fmla="*/ 5927697 h 5927697"/>
                <a:gd name="connsiteX6-13" fmla="*/ 1595338 w 6678765"/>
                <a:gd name="connsiteY6-14" fmla="*/ 0 h 592769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</a:cxnLst>
              <a:rect l="l" t="t" r="r" b="b"/>
              <a:pathLst>
                <a:path w="6678765" h="5927697">
                  <a:moveTo>
                    <a:pt x="1595338" y="0"/>
                  </a:moveTo>
                  <a:lnTo>
                    <a:pt x="5433391" y="0"/>
                  </a:lnTo>
                  <a:lnTo>
                    <a:pt x="5433391" y="5927696"/>
                  </a:lnTo>
                  <a:lnTo>
                    <a:pt x="6678765" y="5927696"/>
                  </a:lnTo>
                  <a:lnTo>
                    <a:pt x="6678765" y="5927697"/>
                  </a:lnTo>
                  <a:lnTo>
                    <a:pt x="0" y="5927697"/>
                  </a:lnTo>
                  <a:lnTo>
                    <a:pt x="159533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B8CA30"/>
                </a:gs>
                <a:gs pos="100000">
                  <a:srgbClr val="B8CA30">
                    <a:alpha val="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B0C1AA1-3706-D7F4-1F9F-67752BB15103}"/>
                </a:ext>
              </a:extLst>
            </p:cNvPr>
            <p:cNvSpPr/>
            <p:nvPr userDrawn="1"/>
          </p:nvSpPr>
          <p:spPr>
            <a:xfrm>
              <a:off x="6876487" y="930300"/>
              <a:ext cx="6680156" cy="5927700"/>
            </a:xfrm>
            <a:custGeom>
              <a:avLst/>
              <a:gdLst>
                <a:gd name="connsiteX0" fmla="*/ 1481924 w 6678765"/>
                <a:gd name="connsiteY0" fmla="*/ 0 h 5927697"/>
                <a:gd name="connsiteX1" fmla="*/ 5314122 w 6678765"/>
                <a:gd name="connsiteY1" fmla="*/ 0 h 5927697"/>
                <a:gd name="connsiteX2" fmla="*/ 5314122 w 6678765"/>
                <a:gd name="connsiteY2" fmla="*/ 5927696 h 5927697"/>
                <a:gd name="connsiteX3" fmla="*/ 6678765 w 6678765"/>
                <a:gd name="connsiteY3" fmla="*/ 5927696 h 5927697"/>
                <a:gd name="connsiteX4" fmla="*/ 6678765 w 6678765"/>
                <a:gd name="connsiteY4" fmla="*/ 5927697 h 5927697"/>
                <a:gd name="connsiteX5" fmla="*/ 0 w 6678765"/>
                <a:gd name="connsiteY5" fmla="*/ 5927697 h 5927697"/>
                <a:gd name="connsiteX6" fmla="*/ 1481924 w 6678765"/>
                <a:gd name="connsiteY6" fmla="*/ 0 h 5927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78765" h="5927697">
                  <a:moveTo>
                    <a:pt x="1481924" y="0"/>
                  </a:moveTo>
                  <a:lnTo>
                    <a:pt x="5314122" y="0"/>
                  </a:lnTo>
                  <a:lnTo>
                    <a:pt x="5314122" y="5927696"/>
                  </a:lnTo>
                  <a:lnTo>
                    <a:pt x="6678765" y="5927696"/>
                  </a:lnTo>
                  <a:lnTo>
                    <a:pt x="6678765" y="5927697"/>
                  </a:lnTo>
                  <a:lnTo>
                    <a:pt x="0" y="5927697"/>
                  </a:lnTo>
                  <a:lnTo>
                    <a:pt x="148192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21C84"/>
                </a:gs>
                <a:gs pos="100000">
                  <a:srgbClr val="91135B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pic>
        <p:nvPicPr>
          <p:cNvPr id="8" name="图形 7">
            <a:extLst>
              <a:ext uri="{FF2B5EF4-FFF2-40B4-BE49-F238E27FC236}">
                <a16:creationId xmlns:a16="http://schemas.microsoft.com/office/drawing/2014/main" id="{D14AAF42-81E3-8A59-D30B-8483E6F71B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41677" y="336766"/>
            <a:ext cx="898550" cy="44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8886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一行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6170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11111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C426B7-93F1-4BE9-9F89-6951CEF90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8F69ACE-038D-4451-9B8B-AA8D5961D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62B03C-DDBC-443C-B085-67CD1E23E35A}" type="datetime1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CB9EEE-1597-4C28-962C-556314F36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6F63CC8-B574-4BE5-AB44-933C78397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5804" y="6623410"/>
            <a:ext cx="589856" cy="196131"/>
          </a:xfrm>
        </p:spPr>
        <p:txBody>
          <a:bodyPr/>
          <a:lstStyle>
            <a:lvl1pPr algn="l">
              <a:defRPr/>
            </a:lvl1pPr>
          </a:lstStyle>
          <a:p>
            <a:fld id="{84174834-AE19-4E6F-B9DB-370160A47D1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12" descr="Takeda_Logo_Pos_RGB.emf">
            <a:extLst>
              <a:ext uri="{FF2B5EF4-FFF2-40B4-BE49-F238E27FC236}">
                <a16:creationId xmlns:a16="http://schemas.microsoft.com/office/drawing/2014/main" id="{5C9203E0-FECC-48CB-BBA7-6D7F9BDCB6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332997" y="132770"/>
            <a:ext cx="739444" cy="248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01019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459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485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6350"/>
            <a:ext cx="12192000" cy="3429000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566519-5BD4-474D-8621-1163859E51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424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777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244164" y="236517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245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781853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004711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5473699"/>
            <a:ext cx="12192000" cy="13843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23256" y="219297"/>
            <a:ext cx="10735351" cy="877884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Sample Divider Slide Whit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1411828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 goes her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5" y="6083025"/>
            <a:ext cx="1980372" cy="43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40680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29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200" b="0" i="0" u="none" strike="noStrike" kern="1200" cap="none" spc="0" normalizeH="0" baseline="0" noProof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200" b="0" i="0" u="none" strike="noStrike" kern="1200" cap="none" spc="0" normalizeH="0" baseline="0" noProof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6"/>
            <a:ext cx="11042649" cy="4897439"/>
          </a:xfrm>
        </p:spPr>
        <p:txBody>
          <a:bodyPr vert="eaVert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80741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19.emf"/><Relationship Id="rId5" Type="http://schemas.openxmlformats.org/officeDocument/2006/relationships/slideLayout" Target="../slideLayouts/slideLayout27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" imgW="470" imgH="469" progId="TCLayout.ActiveDocument.1">
                  <p:embed/>
                </p:oleObj>
              </mc:Choice>
              <mc:Fallback>
                <p:oleObj name="think-cell 幻灯片" r:id="rId7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 dirty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11545804" y="6630966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4757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61" r:id="rId2"/>
    <p:sldLayoutId id="214748369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4" imgW="470" imgH="469" progId="TCLayout.ActiveDocument.1">
                  <p:embed/>
                </p:oleObj>
              </mc:Choice>
              <mc:Fallback>
                <p:oleObj name="think-cell 幻灯片" r:id="rId14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pic>
        <p:nvPicPr>
          <p:cNvPr id="10" name="Picture 12" descr="Takeda_Logo_Pos_RGB.emf">
            <a:extLst>
              <a:ext uri="{FF2B5EF4-FFF2-40B4-BE49-F238E27FC236}">
                <a16:creationId xmlns:a16="http://schemas.microsoft.com/office/drawing/2014/main" id="{D824DB8B-9B20-483C-ADA3-FFF37B3921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409630" y="76697"/>
            <a:ext cx="688879" cy="231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12518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1F766108-4367-DC71-DAB3-F550DEDD0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60684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530" imgH="531" progId="TCLayout.ActiveDocument.1">
                  <p:embed/>
                </p:oleObj>
              </mc:Choice>
              <mc:Fallback>
                <p:oleObj name="think-cell 幻灯片" r:id="rId12" imgW="530" imgH="531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1F766108-4367-DC71-DAB3-F550DEDD0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A0BD2B7-FE28-5F63-160E-C422ACB74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78D4FE-84CF-4306-AAE9-3265CBD2605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8337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对象 6" hidden="1">
            <a:extLst>
              <a:ext uri="{FF2B5EF4-FFF2-40B4-BE49-F238E27FC236}">
                <a16:creationId xmlns:a16="http://schemas.microsoft.com/office/drawing/2014/main" id="{7A507EF2-FF0D-816B-2A99-617DD6493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0" imgW="360" imgH="360" progId="TCLayout.ActiveDocument.1">
                  <p:embed/>
                </p:oleObj>
              </mc:Choice>
              <mc:Fallback>
                <p:oleObj name="think-cell 幻灯片" r:id="rId10" imgW="360" imgH="360" progId="TCLayout.ActiveDocument.1">
                  <p:embed/>
                  <p:pic>
                    <p:nvPicPr>
                      <p:cNvPr id="1026" name="对象 6" hidden="1">
                        <a:extLst>
                          <a:ext uri="{FF2B5EF4-FFF2-40B4-BE49-F238E27FC236}">
                            <a16:creationId xmlns:a16="http://schemas.microsoft.com/office/drawing/2014/main" id="{7A507EF2-FF0D-816B-2A99-617DD64936D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6156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9" r:id="rId3"/>
    <p:sldLayoutId id="2147483720" r:id="rId4"/>
    <p:sldLayoutId id="2147483721" r:id="rId5"/>
    <p:sldLayoutId id="2147483722" r:id="rId6"/>
    <p:sldLayoutId id="2147483723" r:id="rId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 kern="1200">
          <a:solidFill>
            <a:schemeClr val="accent2"/>
          </a:solidFill>
          <a:latin typeface="Calibri" panose="020F0502020204030204" pitchFamily="34" charset="0"/>
          <a:ea typeface="メイリオ" pitchFamily="50" charset="-128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accent2"/>
          </a:solidFill>
          <a:latin typeface="Calibri" panose="020F0502020204030204" pitchFamily="34" charset="0"/>
          <a:ea typeface="メイリオ" panose="020B0604030504040204" pitchFamily="34" charset="-128"/>
          <a:cs typeface="Calibri" panose="020F0502020204030204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buClr>
          <a:srgbClr val="4C4948"/>
        </a:buClr>
        <a:buFont typeface="Arial" panose="020B0604020202020204" pitchFamily="34" charset="0"/>
        <a:buChar char="•"/>
        <a:defRPr kumimoji="1" sz="2700" kern="1200">
          <a:solidFill>
            <a:schemeClr val="accent2"/>
          </a:solidFill>
          <a:latin typeface="Calibri" panose="020F0502020204030204" pitchFamily="34" charset="0"/>
          <a:ea typeface="メイリオ" pitchFamily="50" charset="-128"/>
          <a:cs typeface="Calibri" panose="020F050202020403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4C4948"/>
        </a:buClr>
        <a:buFont typeface="Arial" panose="020B0604020202020204" pitchFamily="34" charset="0"/>
        <a:buChar char="–"/>
        <a:defRPr kumimoji="1" sz="2400" kern="1200">
          <a:solidFill>
            <a:schemeClr val="accent2"/>
          </a:solidFill>
          <a:latin typeface="Calibri" panose="020F0502020204030204" pitchFamily="34" charset="0"/>
          <a:ea typeface="メイリオ" pitchFamily="50" charset="-128"/>
          <a:cs typeface="Calibri" panose="020F050202020403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4C4948"/>
        </a:buClr>
        <a:buFont typeface="Arial" panose="020B0604020202020204" pitchFamily="34" charset="0"/>
        <a:buChar char="•"/>
        <a:defRPr kumimoji="1" sz="2300" kern="1200">
          <a:solidFill>
            <a:schemeClr val="accent2"/>
          </a:solidFill>
          <a:latin typeface="Calibri" panose="020F0502020204030204" pitchFamily="34" charset="0"/>
          <a:ea typeface="メイリオ" pitchFamily="50" charset="-128"/>
          <a:cs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4C4948"/>
        </a:buClr>
        <a:buFont typeface="Arial" panose="020B0604020202020204" pitchFamily="34" charset="0"/>
        <a:buChar char="–"/>
        <a:defRPr kumimoji="1" sz="2000" kern="1200">
          <a:solidFill>
            <a:schemeClr val="accent2"/>
          </a:solidFill>
          <a:latin typeface="Calibri" panose="020F0502020204030204" pitchFamily="34" charset="0"/>
          <a:ea typeface="メイリオ" pitchFamily="50" charset="-128"/>
          <a:cs typeface="Calibri" panose="020F050202020403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4C4948"/>
        </a:buClr>
        <a:buFont typeface="Arial" panose="020B0604020202020204" pitchFamily="34" charset="0"/>
        <a:buChar char="»"/>
        <a:defRPr kumimoji="1" sz="2000" kern="1200">
          <a:solidFill>
            <a:schemeClr val="accent2"/>
          </a:solidFill>
          <a:latin typeface="Calibri" panose="020F0502020204030204" pitchFamily="34" charset="0"/>
          <a:ea typeface="メイリオ" pitchFamily="50" charset="-128"/>
          <a:cs typeface="Calibri" panose="020F050202020403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32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6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9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chart" Target="../charts/chart3.xml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3.xml"/><Relationship Id="rId12" Type="http://schemas.openxmlformats.org/officeDocument/2006/relationships/chart" Target="../charts/char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chart" Target="../charts/chart1.xml"/><Relationship Id="rId5" Type="http://schemas.openxmlformats.org/officeDocument/2006/relationships/tags" Target="../tags/tag23.xml"/><Relationship Id="rId10" Type="http://schemas.openxmlformats.org/officeDocument/2006/relationships/image" Target="../media/image8.emf"/><Relationship Id="rId4" Type="http://schemas.openxmlformats.org/officeDocument/2006/relationships/tags" Target="../tags/tag22.xml"/><Relationship Id="rId9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30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34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13.bin"/><Relationship Id="rId17" Type="http://schemas.openxmlformats.org/officeDocument/2006/relationships/chart" Target="../charts/chart7.xml"/><Relationship Id="rId2" Type="http://schemas.openxmlformats.org/officeDocument/2006/relationships/tags" Target="../tags/tag27.xml"/><Relationship Id="rId16" Type="http://schemas.openxmlformats.org/officeDocument/2006/relationships/chart" Target="../charts/chart6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30.xml"/><Relationship Id="rId15" Type="http://schemas.openxmlformats.org/officeDocument/2006/relationships/chart" Target="../charts/chart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6.jpe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3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4809DAB9-874C-4E3F-8727-97687F665B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691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70" imgH="469" progId="TCLayout.ActiveDocument.1">
                  <p:embed/>
                </p:oleObj>
              </mc:Choice>
              <mc:Fallback>
                <p:oleObj name="think-cell 幻灯片" r:id="rId5" imgW="470" imgH="469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4809DAB9-874C-4E3F-8727-97687F665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矩形 13">
            <a:extLst>
              <a:ext uri="{FF2B5EF4-FFF2-40B4-BE49-F238E27FC236}">
                <a16:creationId xmlns:a16="http://schemas.microsoft.com/office/drawing/2014/main" id="{1F06C52E-285E-BE34-D58D-638EBF64C877}"/>
              </a:ext>
            </a:extLst>
          </p:cNvPr>
          <p:cNvSpPr/>
          <p:nvPr/>
        </p:nvSpPr>
        <p:spPr>
          <a:xfrm>
            <a:off x="515938" y="3993506"/>
            <a:ext cx="11160125" cy="1077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hidden="1">
            <a:extLst>
              <a:ext uri="{FF2B5EF4-FFF2-40B4-BE49-F238E27FC236}">
                <a16:creationId xmlns:a16="http://schemas.microsoft.com/office/drawing/2014/main" id="{FC67C9E7-9FE8-48AB-AFB5-6EEE19E448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AF22095-3E2C-4C2B-9E22-8BCBFA99B5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6982" y="2031153"/>
            <a:ext cx="7518037" cy="615553"/>
          </a:xfrm>
        </p:spPr>
        <p:txBody>
          <a:bodyPr vert="horz"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b="1" kern="100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莫博赛替尼</a:t>
            </a: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胶囊（安卫力</a:t>
            </a:r>
            <a:r>
              <a:rPr lang="en-US" altLang="zh-CN" sz="4000" b="1" kern="100" baseline="300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®</a:t>
            </a: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DEBA2A-75E8-4162-B4D4-62B95BACC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7835" y="2870310"/>
            <a:ext cx="5636331" cy="369332"/>
          </a:xfrm>
          <a:noFill/>
          <a:ln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 sz="18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武田（中国）国际贸易有限公司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720839D1-9EF7-61C7-6CA1-1D8FA86B0853}"/>
              </a:ext>
            </a:extLst>
          </p:cNvPr>
          <p:cNvGrpSpPr/>
          <p:nvPr/>
        </p:nvGrpSpPr>
        <p:grpSpPr>
          <a:xfrm>
            <a:off x="1811366" y="4224290"/>
            <a:ext cx="8569268" cy="615553"/>
            <a:chOff x="1437050" y="4224290"/>
            <a:chExt cx="8569268" cy="615553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0841C1E9-CECC-AE20-EC78-6B694BEEEAC8}"/>
                </a:ext>
              </a:extLst>
            </p:cNvPr>
            <p:cNvSpPr txBox="1"/>
            <p:nvPr/>
          </p:nvSpPr>
          <p:spPr>
            <a:xfrm>
              <a:off x="1437050" y="4246316"/>
              <a:ext cx="4567916" cy="5715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我国</a:t>
              </a:r>
              <a:r>
                <a:rPr lang="zh-CN" altLang="en-US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首个且唯一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获批针对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EGFR 20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号外显子插入突变</a:t>
              </a:r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 NSCLC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的靶向药</a:t>
              </a:r>
              <a:endPara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B6EAEB93-3A60-2638-885E-FD456A5A2B91}"/>
                </a:ext>
              </a:extLst>
            </p:cNvPr>
            <p:cNvSpPr txBox="1"/>
            <p:nvPr/>
          </p:nvSpPr>
          <p:spPr>
            <a:xfrm>
              <a:off x="6329018" y="4246316"/>
              <a:ext cx="1943728" cy="5715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突破性治疗品种</a:t>
              </a:r>
              <a:endParaRPr lang="zh-CN" altLang="en-US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75D950C0-B653-2A91-2295-2256407BD59D}"/>
                </a:ext>
              </a:extLst>
            </p:cNvPr>
            <p:cNvCxnSpPr>
              <a:cxnSpLocks/>
            </p:cNvCxnSpPr>
            <p:nvPr/>
          </p:nvCxnSpPr>
          <p:spPr>
            <a:xfrm>
              <a:off x="6166992" y="4224290"/>
              <a:ext cx="0" cy="615553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21B8B80C-1A8D-21D3-BD83-B33A2EDA0B2A}"/>
                </a:ext>
              </a:extLst>
            </p:cNvPr>
            <p:cNvCxnSpPr>
              <a:cxnSpLocks/>
            </p:cNvCxnSpPr>
            <p:nvPr/>
          </p:nvCxnSpPr>
          <p:spPr>
            <a:xfrm>
              <a:off x="8434772" y="4224290"/>
              <a:ext cx="0" cy="615553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BE9AD0C3-918D-B1C8-FDED-F722F8E45FE8}"/>
                </a:ext>
              </a:extLst>
            </p:cNvPr>
            <p:cNvSpPr txBox="1"/>
            <p:nvPr/>
          </p:nvSpPr>
          <p:spPr>
            <a:xfrm>
              <a:off x="8596798" y="4246316"/>
              <a:ext cx="1409520" cy="5715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altLang="zh-CN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1</a:t>
              </a:r>
              <a:r>
                <a:rPr lang="zh-CN" altLang="en-US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类</a:t>
              </a:r>
              <a:r>
                <a: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新药</a:t>
              </a:r>
              <a:endPara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7620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3C5DC5BB-3767-7913-F207-E8D7EE8716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840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60" imgH="360" progId="TCLayout.ActiveDocument.1">
                  <p:embed/>
                </p:oleObj>
              </mc:Choice>
              <mc:Fallback>
                <p:oleObj name="think-cell 幻灯片" r:id="rId4" imgW="360" imgH="360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3C5DC5BB-3767-7913-F207-E8D7EE871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" name="矩形: 圆角 1047">
            <a:extLst>
              <a:ext uri="{FF2B5EF4-FFF2-40B4-BE49-F238E27FC236}">
                <a16:creationId xmlns:a16="http://schemas.microsoft.com/office/drawing/2014/main" id="{70088386-AF88-601A-0D33-36DA4C3CC045}"/>
              </a:ext>
            </a:extLst>
          </p:cNvPr>
          <p:cNvSpPr/>
          <p:nvPr/>
        </p:nvSpPr>
        <p:spPr>
          <a:xfrm>
            <a:off x="6070494" y="1628775"/>
            <a:ext cx="5619942" cy="540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突破性治疗品种</a:t>
            </a:r>
          </a:p>
        </p:txBody>
      </p:sp>
      <p:pic>
        <p:nvPicPr>
          <p:cNvPr id="1052" name="Picture 8">
            <a:extLst>
              <a:ext uri="{FF2B5EF4-FFF2-40B4-BE49-F238E27FC236}">
                <a16:creationId xmlns:a16="http://schemas.microsoft.com/office/drawing/2014/main" id="{8C2A1E98-13C4-4713-DA0F-BFBF64DBB6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0" r="8438"/>
          <a:stretch/>
        </p:blipFill>
        <p:spPr bwMode="auto">
          <a:xfrm>
            <a:off x="6096221" y="2812108"/>
            <a:ext cx="823760" cy="619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1" name="图片 1050" descr="徽标&#10;&#10;描述已自动生成">
            <a:extLst>
              <a:ext uri="{FF2B5EF4-FFF2-40B4-BE49-F238E27FC236}">
                <a16:creationId xmlns:a16="http://schemas.microsoft.com/office/drawing/2014/main" id="{1E36C09A-D7A7-6F58-AA94-E741AD6675F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19" b="20999"/>
          <a:stretch/>
        </p:blipFill>
        <p:spPr>
          <a:xfrm>
            <a:off x="6257339" y="5115260"/>
            <a:ext cx="501524" cy="337435"/>
          </a:xfrm>
          <a:prstGeom prst="rect">
            <a:avLst/>
          </a:prstGeom>
        </p:spPr>
      </p:pic>
      <p:sp>
        <p:nvSpPr>
          <p:cNvPr id="4" name="灯片编号占位符 2">
            <a:extLst>
              <a:ext uri="{FF2B5EF4-FFF2-40B4-BE49-F238E27FC236}">
                <a16:creationId xmlns:a16="http://schemas.microsoft.com/office/drawing/2014/main" id="{E7D82DCD-266E-86C8-4BB4-EF650B998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1554" y="6623410"/>
            <a:ext cx="252000" cy="196131"/>
          </a:xfrm>
        </p:spPr>
        <p:txBody>
          <a:bodyPr/>
          <a:lstStyle/>
          <a:p>
            <a:pPr algn="ctr"/>
            <a:fld id="{84174834-AE19-4E6F-B9DB-370160A47D1E}" type="slidenum">
              <a:rPr lang="zh-CN" altLang="en-US" smtClean="0"/>
              <a:pPr algn="ctr"/>
              <a:t>10</a:t>
            </a:fld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2064445-063A-1EB1-CD2E-D1DDB3ACD6AB}"/>
              </a:ext>
            </a:extLst>
          </p:cNvPr>
          <p:cNvSpPr txBox="1"/>
          <p:nvPr/>
        </p:nvSpPr>
        <p:spPr>
          <a:xfrm>
            <a:off x="7004625" y="2809050"/>
            <a:ext cx="4728764" cy="62594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000" indent="-180000">
              <a:lnSpc>
                <a:spcPts val="24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获得我国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CDE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zh-CN" altLang="en-US" sz="16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突破性治疗品种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和</a:t>
            </a:r>
            <a:r>
              <a:rPr lang="zh-CN" altLang="en-US" sz="16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优先审评审批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180000">
              <a:lnSpc>
                <a:spcPts val="2400"/>
              </a:lnSpc>
              <a:spcBef>
                <a:spcPts val="300"/>
              </a:spcBef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是首批获得突破性治疗品种认定的外资企业创新药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0293346A-6684-F1AD-4036-BBC2ECAF2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339" y="4035557"/>
            <a:ext cx="501524" cy="334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直接连接符 681">
            <a:extLst>
              <a:ext uri="{FF2B5EF4-FFF2-40B4-BE49-F238E27FC236}">
                <a16:creationId xmlns:a16="http://schemas.microsoft.com/office/drawing/2014/main" id="{D320235B-5584-C937-43F8-E7ACC459B5C8}"/>
              </a:ext>
            </a:extLst>
          </p:cNvPr>
          <p:cNvCxnSpPr>
            <a:cxnSpLocks/>
          </p:cNvCxnSpPr>
          <p:nvPr/>
        </p:nvCxnSpPr>
        <p:spPr>
          <a:xfrm>
            <a:off x="5884704" y="2657310"/>
            <a:ext cx="0" cy="2988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" name="Rectangle 7">
            <a:extLst>
              <a:ext uri="{FF2B5EF4-FFF2-40B4-BE49-F238E27FC236}">
                <a16:creationId xmlns:a16="http://schemas.microsoft.com/office/drawing/2014/main" id="{DFBFBA92-4B87-5247-0A4E-258718CFDF23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创新性</a:t>
            </a:r>
          </a:p>
        </p:txBody>
      </p:sp>
      <p:sp>
        <p:nvSpPr>
          <p:cNvPr id="1026" name="标题 5">
            <a:extLst>
              <a:ext uri="{FF2B5EF4-FFF2-40B4-BE49-F238E27FC236}">
                <a16:creationId xmlns:a16="http://schemas.microsoft.com/office/drawing/2014/main" id="{7E041917-0289-8B23-711D-5AF076F7C261}"/>
              </a:ext>
            </a:extLst>
          </p:cNvPr>
          <p:cNvSpPr txBox="1">
            <a:spLocks/>
          </p:cNvSpPr>
          <p:nvPr/>
        </p:nvSpPr>
        <p:spPr>
          <a:xfrm>
            <a:off x="450852" y="318342"/>
            <a:ext cx="11134690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kumimoji="0" lang="zh-CN" altLang="en-US" sz="3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莫博赛替尼因其高度的创新性及解决临床未满足需求，获得我国 </a:t>
            </a:r>
            <a:r>
              <a:rPr kumimoji="0" lang="zh-CN" altLang="en-US" sz="3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“</a:t>
            </a:r>
            <a:r>
              <a:rPr kumimoji="0" lang="en-US" altLang="zh-CN" sz="3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kumimoji="0" lang="zh-CN" altLang="en-US" sz="3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类新药”</a:t>
            </a:r>
            <a:r>
              <a:rPr kumimoji="0" lang="zh-CN" altLang="en-US" sz="3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（全球新）和</a:t>
            </a:r>
            <a:r>
              <a:rPr kumimoji="0" lang="zh-CN" altLang="en-US" sz="3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“突破性治疗品种”</a:t>
            </a:r>
            <a:r>
              <a:rPr kumimoji="0" lang="zh-CN" altLang="en-US" sz="3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认定</a:t>
            </a:r>
            <a:endParaRPr lang="zh-CN" altLang="en-US" sz="3000" b="1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28" name="文本框 1027">
            <a:extLst>
              <a:ext uri="{FF2B5EF4-FFF2-40B4-BE49-F238E27FC236}">
                <a16:creationId xmlns:a16="http://schemas.microsoft.com/office/drawing/2014/main" id="{09F27640-8079-9D65-5368-7B45DB983E1A}"/>
              </a:ext>
            </a:extLst>
          </p:cNvPr>
          <p:cNvSpPr txBox="1"/>
          <p:nvPr/>
        </p:nvSpPr>
        <p:spPr>
          <a:xfrm>
            <a:off x="7004625" y="4062731"/>
            <a:ext cx="4728764" cy="27969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000" indent="-180000">
              <a:lnSpc>
                <a:spcPts val="24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获得美国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FDA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突破性疗法、孤儿药认定和优先审批</a:t>
            </a:r>
          </a:p>
        </p:txBody>
      </p:sp>
      <p:sp>
        <p:nvSpPr>
          <p:cNvPr id="1029" name="文本框 1028">
            <a:extLst>
              <a:ext uri="{FF2B5EF4-FFF2-40B4-BE49-F238E27FC236}">
                <a16:creationId xmlns:a16="http://schemas.microsoft.com/office/drawing/2014/main" id="{D8C3F18C-539A-165A-C5E0-E7D5541AA063}"/>
              </a:ext>
            </a:extLst>
          </p:cNvPr>
          <p:cNvSpPr txBox="1"/>
          <p:nvPr/>
        </p:nvSpPr>
        <p:spPr>
          <a:xfrm>
            <a:off x="7004625" y="4990243"/>
            <a:ext cx="4728764" cy="58746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000" indent="-180000">
              <a:lnSpc>
                <a:spcPts val="24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英国社会保障部门</a:t>
            </a: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*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认为莫博赛替尼是突破性药物，是此类罕见突变患者的救命药</a:t>
            </a:r>
            <a:r>
              <a:rPr lang="en-US" altLang="zh-CN" sz="1600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2569BB3-F672-F24E-E3FF-A571824E5D49}"/>
              </a:ext>
            </a:extLst>
          </p:cNvPr>
          <p:cNvSpPr txBox="1"/>
          <p:nvPr/>
        </p:nvSpPr>
        <p:spPr>
          <a:xfrm>
            <a:off x="503322" y="3908843"/>
            <a:ext cx="5186693" cy="58746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0000" indent="-180000">
              <a:lnSpc>
                <a:spcPts val="24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类新药：</a:t>
            </a:r>
            <a:r>
              <a:rPr lang="zh-CN" altLang="en-US" sz="16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境内外均未上市的创新药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。指</a:t>
            </a:r>
            <a:r>
              <a:rPr lang="zh-CN" altLang="en-US" sz="16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含有新的结构明确的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、具有药理作用的化合物，且</a:t>
            </a:r>
            <a:r>
              <a:rPr lang="zh-CN" altLang="en-US" sz="16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具有临床价值</a:t>
            </a: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药品</a:t>
            </a:r>
            <a:endParaRPr lang="en-US" altLang="zh-CN" sz="1600" kern="1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B5AF7175-464D-DFE0-B11A-6C64B9A247E0}"/>
              </a:ext>
            </a:extLst>
          </p:cNvPr>
          <p:cNvSpPr/>
          <p:nvPr/>
        </p:nvSpPr>
        <p:spPr>
          <a:xfrm>
            <a:off x="517495" y="1630751"/>
            <a:ext cx="5172521" cy="540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66815582-8FA1-7824-7369-316F4D763E61}"/>
              </a:ext>
            </a:extLst>
          </p:cNvPr>
          <p:cNvSpPr txBox="1"/>
          <p:nvPr/>
        </p:nvSpPr>
        <p:spPr>
          <a:xfrm>
            <a:off x="503322" y="4680375"/>
            <a:ext cx="5186693" cy="27969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000" indent="-180000">
              <a:lnSpc>
                <a:spcPts val="24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莫博赛替尼被称为癌症领域精准肿瘤学中“卓越典范”</a:t>
            </a:r>
            <a:r>
              <a:rPr lang="en-US" altLang="zh-CN" sz="1600" kern="100" baseline="300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258E730-41AB-19E4-3BE7-16F49B0797F9}"/>
              </a:ext>
            </a:extLst>
          </p:cNvPr>
          <p:cNvSpPr txBox="1"/>
          <p:nvPr/>
        </p:nvSpPr>
        <p:spPr>
          <a:xfrm>
            <a:off x="503322" y="5144131"/>
            <a:ext cx="5186693" cy="27969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80000" indent="-180000">
              <a:lnSpc>
                <a:spcPts val="24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600" kern="1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与全球同步上市，最快惠及中国患者</a:t>
            </a:r>
          </a:p>
        </p:txBody>
      </p:sp>
      <p:graphicFrame>
        <p:nvGraphicFramePr>
          <p:cNvPr id="23" name="表格 4">
            <a:extLst>
              <a:ext uri="{FF2B5EF4-FFF2-40B4-BE49-F238E27FC236}">
                <a16:creationId xmlns:a16="http://schemas.microsoft.com/office/drawing/2014/main" id="{8A3423AA-24CE-7067-7A5F-DED192006D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67431"/>
              </p:ext>
            </p:extLst>
          </p:nvPr>
        </p:nvGraphicFramePr>
        <p:xfrm>
          <a:off x="517495" y="2657310"/>
          <a:ext cx="5146792" cy="9294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3540">
                  <a:extLst>
                    <a:ext uri="{9D8B030D-6E8A-4147-A177-3AD203B41FA5}">
                      <a16:colId xmlns:a16="http://schemas.microsoft.com/office/drawing/2014/main" val="2945479953"/>
                    </a:ext>
                  </a:extLst>
                </a:gridCol>
                <a:gridCol w="1822822">
                  <a:extLst>
                    <a:ext uri="{9D8B030D-6E8A-4147-A177-3AD203B41FA5}">
                      <a16:colId xmlns:a16="http://schemas.microsoft.com/office/drawing/2014/main" val="1529911432"/>
                    </a:ext>
                  </a:extLst>
                </a:gridCol>
                <a:gridCol w="893540">
                  <a:extLst>
                    <a:ext uri="{9D8B030D-6E8A-4147-A177-3AD203B41FA5}">
                      <a16:colId xmlns:a16="http://schemas.microsoft.com/office/drawing/2014/main" val="797401648"/>
                    </a:ext>
                  </a:extLst>
                </a:gridCol>
                <a:gridCol w="1536890">
                  <a:extLst>
                    <a:ext uri="{9D8B030D-6E8A-4147-A177-3AD203B41FA5}">
                      <a16:colId xmlns:a16="http://schemas.microsoft.com/office/drawing/2014/main" val="1617155162"/>
                    </a:ext>
                  </a:extLst>
                </a:gridCol>
              </a:tblGrid>
              <a:tr h="30980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主要成份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琥珀酸莫博赛替尼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054271"/>
                  </a:ext>
                </a:extLst>
              </a:tr>
              <a:tr h="30980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剂型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胶囊剂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申请事项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注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境外生产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5100320"/>
                  </a:ext>
                </a:extLst>
              </a:tr>
              <a:tr h="30980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格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mg(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按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</a:t>
                      </a:r>
                      <a:r>
                        <a:rPr lang="en-US" altLang="zh-CN" sz="1200" b="0" baseline="-25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</a:t>
                      </a:r>
                      <a:r>
                        <a:rPr lang="en-US" altLang="zh-CN" sz="1200" b="0" baseline="-25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</a:t>
                      </a:r>
                      <a:r>
                        <a:rPr lang="en-US" altLang="zh-CN" sz="1200" b="0" baseline="-25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</a:t>
                      </a:r>
                      <a:r>
                        <a:rPr lang="en-US" altLang="zh-CN" sz="1200" b="0" baseline="-25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2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</a:t>
                      </a:r>
                      <a:r>
                        <a:rPr lang="en-US" altLang="zh-CN" sz="1200" b="0" baseline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分类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化学药品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</a:t>
                      </a:r>
                    </a:p>
                  </a:txBody>
                  <a:tcPr marL="76391" marR="76391" marT="38195" marB="3819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551648"/>
                  </a:ext>
                </a:extLst>
              </a:tr>
            </a:tbl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14C4056C-59B7-383D-2CAB-7DBF1FB6A269}"/>
              </a:ext>
            </a:extLst>
          </p:cNvPr>
          <p:cNvSpPr txBox="1"/>
          <p:nvPr/>
        </p:nvSpPr>
        <p:spPr>
          <a:xfrm>
            <a:off x="450852" y="6273372"/>
            <a:ext cx="112252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释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*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自英国社会保障部门部长原文翻译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缩写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DA - Food and Drug Administration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国食品药品监督管理局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CE - National Institute for Health and Clinical Excellence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国国家卫生和临床技术优化研究所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 - Scottish Medicines Consortium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苏格兰药物联盟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HS - National Health Service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国国家医疗服务体系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Wang J, et al. Med Chem Res. 2022;31(10):1647-1662.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NICE Final Appraisal Determination Committee Pape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94420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3C5DC5BB-3767-7913-F207-E8D7EE8716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056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60" imgH="360" progId="TCLayout.ActiveDocument.1">
                  <p:embed/>
                </p:oleObj>
              </mc:Choice>
              <mc:Fallback>
                <p:oleObj name="think-cell 幻灯片" r:id="rId4" imgW="360" imgH="360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3C5DC5BB-3767-7913-F207-E8D7EE871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>
            <a:extLst>
              <a:ext uri="{FF2B5EF4-FFF2-40B4-BE49-F238E27FC236}">
                <a16:creationId xmlns:a16="http://schemas.microsoft.com/office/drawing/2014/main" id="{72DF9A60-E1F6-66BC-3D74-513930143572}"/>
              </a:ext>
            </a:extLst>
          </p:cNvPr>
          <p:cNvSpPr txBox="1"/>
          <p:nvPr/>
        </p:nvSpPr>
        <p:spPr>
          <a:xfrm>
            <a:off x="648317" y="1414021"/>
            <a:ext cx="11027745" cy="1332000"/>
          </a:xfrm>
          <a:prstGeom prst="roundRect">
            <a:avLst>
              <a:gd name="adj" fmla="val 13278"/>
            </a:avLst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180000" rIns="180000">
            <a:noAutofit/>
          </a:bodyPr>
          <a:lstStyle/>
          <a:p>
            <a:pPr marL="180000" indent="-180000">
              <a:lnSpc>
                <a:spcPts val="1800"/>
              </a:lnSpc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FR ex20ins NSCLC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既往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无有效的治疗手段，基本治疗需求未被满足。莫博赛替尼填补临床治疗空白</a:t>
            </a:r>
            <a:endParaRPr lang="en-US" altLang="zh-CN" sz="16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2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莫博赛替尼针对罕见突变，</a:t>
            </a:r>
            <a:r>
              <a:rPr lang="zh-CN" altLang="en-US" sz="1600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覆盖人群小，对医保基金影响小</a:t>
            </a:r>
            <a:endParaRPr lang="en-US" altLang="zh-CN" sz="1600" b="1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2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天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次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口服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无需住院，节约住院和注射相关费用</a:t>
            </a:r>
            <a:endParaRPr lang="en-US" altLang="zh-CN" sz="16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F32FC2A-F5A4-438E-C1D2-58ABCEDEC361}"/>
              </a:ext>
            </a:extLst>
          </p:cNvPr>
          <p:cNvSpPr txBox="1"/>
          <p:nvPr/>
        </p:nvSpPr>
        <p:spPr>
          <a:xfrm>
            <a:off x="648317" y="5088875"/>
            <a:ext cx="11027745" cy="972000"/>
          </a:xfrm>
          <a:prstGeom prst="roundRect">
            <a:avLst>
              <a:gd name="adj" fmla="val 12496"/>
            </a:avLst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180000" rIns="0">
            <a:noAutofit/>
          </a:bodyPr>
          <a:lstStyle/>
          <a:p>
            <a:pPr marL="180000" indent="-180000">
              <a:lnSpc>
                <a:spcPts val="1800"/>
              </a:lnSpc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2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FR ex20ins NSCLC 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既往中位总生存期（</a:t>
            </a:r>
            <a:r>
              <a:rPr lang="en-US" altLang="zh-CN" sz="1600" dirty="0" err="1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OS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仅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9.8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</a:t>
            </a:r>
            <a:r>
              <a:rPr lang="en-US" altLang="zh-CN" sz="1600" baseline="300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莫博赛替尼为患者带来长生存希望（</a:t>
            </a:r>
            <a:r>
              <a:rPr lang="en-US" altLang="zh-CN" sz="1600" dirty="0" err="1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OS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达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.2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），助力实现健康中国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30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提升总体癌症生存率的目标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3CE9C09-7A2B-34DD-084B-30D65AC44146}"/>
              </a:ext>
            </a:extLst>
          </p:cNvPr>
          <p:cNvGrpSpPr/>
          <p:nvPr/>
        </p:nvGrpSpPr>
        <p:grpSpPr>
          <a:xfrm>
            <a:off x="515938" y="1407391"/>
            <a:ext cx="3239578" cy="387304"/>
            <a:chOff x="285353" y="1562985"/>
            <a:chExt cx="2057791" cy="663287"/>
          </a:xfrm>
        </p:grpSpPr>
        <p:grpSp>
          <p:nvGrpSpPr>
            <p:cNvPr id="11" name="组合 38">
              <a:extLst>
                <a:ext uri="{FF2B5EF4-FFF2-40B4-BE49-F238E27FC236}">
                  <a16:creationId xmlns:a16="http://schemas.microsoft.com/office/drawing/2014/main" id="{DEACA0C4-8077-5CF4-2251-862944E7D076}"/>
                </a:ext>
              </a:extLst>
            </p:cNvPr>
            <p:cNvGrpSpPr/>
            <p:nvPr/>
          </p:nvGrpSpPr>
          <p:grpSpPr>
            <a:xfrm>
              <a:off x="285353" y="1562985"/>
              <a:ext cx="2057791" cy="461738"/>
              <a:chOff x="3571395" y="3482112"/>
              <a:chExt cx="4003867" cy="340257"/>
            </a:xfrm>
          </p:grpSpPr>
          <p:sp>
            <p:nvSpPr>
              <p:cNvPr id="21" name="任意多边形 43">
                <a:extLst>
                  <a:ext uri="{FF2B5EF4-FFF2-40B4-BE49-F238E27FC236}">
                    <a16:creationId xmlns:a16="http://schemas.microsoft.com/office/drawing/2014/main" id="{7483137F-5275-842E-AC42-90F0DEAD21DF}"/>
                  </a:ext>
                </a:extLst>
              </p:cNvPr>
              <p:cNvSpPr/>
              <p:nvPr/>
            </p:nvSpPr>
            <p:spPr>
              <a:xfrm>
                <a:off x="3571395" y="3482112"/>
                <a:ext cx="3161203" cy="340256"/>
              </a:xfrm>
              <a:custGeom>
                <a:avLst/>
                <a:gdLst>
                  <a:gd name="connsiteX0" fmla="*/ 0 w 3161201"/>
                  <a:gd name="connsiteY0" fmla="*/ 0 h 768491"/>
                  <a:gd name="connsiteX1" fmla="*/ 354694 w 3161201"/>
                  <a:gd name="connsiteY1" fmla="*/ 0 h 768491"/>
                  <a:gd name="connsiteX2" fmla="*/ 407839 w 3161201"/>
                  <a:gd name="connsiteY2" fmla="*/ 0 h 768491"/>
                  <a:gd name="connsiteX3" fmla="*/ 3161201 w 3161201"/>
                  <a:gd name="connsiteY3" fmla="*/ 0 h 768491"/>
                  <a:gd name="connsiteX4" fmla="*/ 2969078 w 3161201"/>
                  <a:gd name="connsiteY4" fmla="*/ 768491 h 768491"/>
                  <a:gd name="connsiteX5" fmla="*/ 407839 w 3161201"/>
                  <a:gd name="connsiteY5" fmla="*/ 768491 h 768491"/>
                  <a:gd name="connsiteX6" fmla="*/ 162571 w 3161201"/>
                  <a:gd name="connsiteY6" fmla="*/ 768491 h 768491"/>
                  <a:gd name="connsiteX7" fmla="*/ 0 w 3161201"/>
                  <a:gd name="connsiteY7" fmla="*/ 768491 h 76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61201" h="768491">
                    <a:moveTo>
                      <a:pt x="0" y="0"/>
                    </a:moveTo>
                    <a:lnTo>
                      <a:pt x="354694" y="0"/>
                    </a:lnTo>
                    <a:lnTo>
                      <a:pt x="407839" y="0"/>
                    </a:lnTo>
                    <a:lnTo>
                      <a:pt x="3161201" y="0"/>
                    </a:lnTo>
                    <a:lnTo>
                      <a:pt x="2969078" y="768491"/>
                    </a:lnTo>
                    <a:lnTo>
                      <a:pt x="407839" y="768491"/>
                    </a:lnTo>
                    <a:lnTo>
                      <a:pt x="162571" y="768491"/>
                    </a:lnTo>
                    <a:lnTo>
                      <a:pt x="0" y="768491"/>
                    </a:lnTo>
                    <a:close/>
                  </a:path>
                </a:pathLst>
              </a:custGeom>
              <a:solidFill>
                <a:srgbClr val="B30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r>
                  <a:rPr lang="zh-CN" altLang="en-US" sz="1400" b="1" dirty="0">
                    <a:solidFill>
                      <a:schemeClr val="bg1"/>
                    </a:solidFill>
                    <a:effectLst/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符合“保基本”原则</a:t>
                </a:r>
              </a:p>
            </p:txBody>
          </p:sp>
          <p:sp>
            <p:nvSpPr>
              <p:cNvPr id="23" name="平行四边形 40">
                <a:extLst>
                  <a:ext uri="{FF2B5EF4-FFF2-40B4-BE49-F238E27FC236}">
                    <a16:creationId xmlns:a16="http://schemas.microsoft.com/office/drawing/2014/main" id="{E06CF83B-6F38-527E-86F2-C4B12B44BFB4}"/>
                  </a:ext>
                </a:extLst>
              </p:cNvPr>
              <p:cNvSpPr/>
              <p:nvPr/>
            </p:nvSpPr>
            <p:spPr>
              <a:xfrm>
                <a:off x="6631919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5" name="平行四边形 41">
                <a:extLst>
                  <a:ext uri="{FF2B5EF4-FFF2-40B4-BE49-F238E27FC236}">
                    <a16:creationId xmlns:a16="http://schemas.microsoft.com/office/drawing/2014/main" id="{731A0ECE-E017-1DE8-FEF5-C8C2860ADE07}"/>
                  </a:ext>
                </a:extLst>
              </p:cNvPr>
              <p:cNvSpPr/>
              <p:nvPr/>
            </p:nvSpPr>
            <p:spPr>
              <a:xfrm>
                <a:off x="6926928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6" name="平行四边形 42">
                <a:extLst>
                  <a:ext uri="{FF2B5EF4-FFF2-40B4-BE49-F238E27FC236}">
                    <a16:creationId xmlns:a16="http://schemas.microsoft.com/office/drawing/2014/main" id="{C4FADFE9-79FF-DF22-C6F6-FD08B2126085}"/>
                  </a:ext>
                </a:extLst>
              </p:cNvPr>
              <p:cNvSpPr/>
              <p:nvPr/>
            </p:nvSpPr>
            <p:spPr>
              <a:xfrm>
                <a:off x="7201010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2" name="等腰三角形 11">
              <a:extLst>
                <a:ext uri="{FF2B5EF4-FFF2-40B4-BE49-F238E27FC236}">
                  <a16:creationId xmlns:a16="http://schemas.microsoft.com/office/drawing/2014/main" id="{42E7DDE0-5759-7E67-2D81-EF8F8E9B6A54}"/>
                </a:ext>
              </a:extLst>
            </p:cNvPr>
            <p:cNvSpPr/>
            <p:nvPr/>
          </p:nvSpPr>
          <p:spPr>
            <a:xfrm rot="16200000">
              <a:off x="224308" y="2085898"/>
              <a:ext cx="201549" cy="79200"/>
            </a:xfrm>
            <a:prstGeom prst="triangle">
              <a:avLst>
                <a:gd name="adj" fmla="val 100000"/>
              </a:avLst>
            </a:prstGeom>
            <a:solidFill>
              <a:srgbClr val="F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039" name="组合 1038">
            <a:extLst>
              <a:ext uri="{FF2B5EF4-FFF2-40B4-BE49-F238E27FC236}">
                <a16:creationId xmlns:a16="http://schemas.microsoft.com/office/drawing/2014/main" id="{EA1750B6-F011-4DF4-5E87-9AAA6FA865E3}"/>
              </a:ext>
            </a:extLst>
          </p:cNvPr>
          <p:cNvGrpSpPr/>
          <p:nvPr/>
        </p:nvGrpSpPr>
        <p:grpSpPr>
          <a:xfrm>
            <a:off x="515938" y="5079459"/>
            <a:ext cx="3239578" cy="387304"/>
            <a:chOff x="285353" y="1562984"/>
            <a:chExt cx="2057791" cy="663288"/>
          </a:xfrm>
        </p:grpSpPr>
        <p:grpSp>
          <p:nvGrpSpPr>
            <p:cNvPr id="1040" name="组合 38">
              <a:extLst>
                <a:ext uri="{FF2B5EF4-FFF2-40B4-BE49-F238E27FC236}">
                  <a16:creationId xmlns:a16="http://schemas.microsoft.com/office/drawing/2014/main" id="{8B32A32F-FAB3-FE3D-26FA-60399A627193}"/>
                </a:ext>
              </a:extLst>
            </p:cNvPr>
            <p:cNvGrpSpPr/>
            <p:nvPr/>
          </p:nvGrpSpPr>
          <p:grpSpPr>
            <a:xfrm>
              <a:off x="285353" y="1562984"/>
              <a:ext cx="2057791" cy="461738"/>
              <a:chOff x="3571395" y="3482112"/>
              <a:chExt cx="4003867" cy="340257"/>
            </a:xfrm>
          </p:grpSpPr>
          <p:sp>
            <p:nvSpPr>
              <p:cNvPr id="1042" name="任意多边形 43">
                <a:extLst>
                  <a:ext uri="{FF2B5EF4-FFF2-40B4-BE49-F238E27FC236}">
                    <a16:creationId xmlns:a16="http://schemas.microsoft.com/office/drawing/2014/main" id="{B8150439-7319-A886-966E-64BCC542EB06}"/>
                  </a:ext>
                </a:extLst>
              </p:cNvPr>
              <p:cNvSpPr/>
              <p:nvPr/>
            </p:nvSpPr>
            <p:spPr>
              <a:xfrm>
                <a:off x="3571395" y="3482113"/>
                <a:ext cx="3161203" cy="340256"/>
              </a:xfrm>
              <a:custGeom>
                <a:avLst/>
                <a:gdLst>
                  <a:gd name="connsiteX0" fmla="*/ 0 w 3161201"/>
                  <a:gd name="connsiteY0" fmla="*/ 0 h 768491"/>
                  <a:gd name="connsiteX1" fmla="*/ 354694 w 3161201"/>
                  <a:gd name="connsiteY1" fmla="*/ 0 h 768491"/>
                  <a:gd name="connsiteX2" fmla="*/ 407839 w 3161201"/>
                  <a:gd name="connsiteY2" fmla="*/ 0 h 768491"/>
                  <a:gd name="connsiteX3" fmla="*/ 3161201 w 3161201"/>
                  <a:gd name="connsiteY3" fmla="*/ 0 h 768491"/>
                  <a:gd name="connsiteX4" fmla="*/ 2969078 w 3161201"/>
                  <a:gd name="connsiteY4" fmla="*/ 768491 h 768491"/>
                  <a:gd name="connsiteX5" fmla="*/ 407839 w 3161201"/>
                  <a:gd name="connsiteY5" fmla="*/ 768491 h 768491"/>
                  <a:gd name="connsiteX6" fmla="*/ 162571 w 3161201"/>
                  <a:gd name="connsiteY6" fmla="*/ 768491 h 768491"/>
                  <a:gd name="connsiteX7" fmla="*/ 0 w 3161201"/>
                  <a:gd name="connsiteY7" fmla="*/ 768491 h 76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61201" h="768491">
                    <a:moveTo>
                      <a:pt x="0" y="0"/>
                    </a:moveTo>
                    <a:lnTo>
                      <a:pt x="354694" y="0"/>
                    </a:lnTo>
                    <a:lnTo>
                      <a:pt x="407839" y="0"/>
                    </a:lnTo>
                    <a:lnTo>
                      <a:pt x="3161201" y="0"/>
                    </a:lnTo>
                    <a:lnTo>
                      <a:pt x="2969078" y="768491"/>
                    </a:lnTo>
                    <a:lnTo>
                      <a:pt x="407839" y="768491"/>
                    </a:lnTo>
                    <a:lnTo>
                      <a:pt x="162571" y="768491"/>
                    </a:lnTo>
                    <a:lnTo>
                      <a:pt x="0" y="768491"/>
                    </a:lnTo>
                    <a:close/>
                  </a:path>
                </a:pathLst>
              </a:custGeom>
              <a:solidFill>
                <a:srgbClr val="B30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r>
                  <a:rPr lang="zh-CN" altLang="zh-CN" sz="1400" b="1" dirty="0">
                    <a:solidFill>
                      <a:schemeClr val="bg1"/>
                    </a:solidFill>
                    <a:effectLst/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所治疗疾病对公共健康的影响</a:t>
                </a:r>
                <a:endPara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43" name="平行四边形 40">
                <a:extLst>
                  <a:ext uri="{FF2B5EF4-FFF2-40B4-BE49-F238E27FC236}">
                    <a16:creationId xmlns:a16="http://schemas.microsoft.com/office/drawing/2014/main" id="{2607BAC5-4AB8-19E5-EC28-336359CA8B81}"/>
                  </a:ext>
                </a:extLst>
              </p:cNvPr>
              <p:cNvSpPr/>
              <p:nvPr/>
            </p:nvSpPr>
            <p:spPr>
              <a:xfrm>
                <a:off x="6631919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44" name="平行四边形 41">
                <a:extLst>
                  <a:ext uri="{FF2B5EF4-FFF2-40B4-BE49-F238E27FC236}">
                    <a16:creationId xmlns:a16="http://schemas.microsoft.com/office/drawing/2014/main" id="{F87DA8CF-2E6D-6CC6-5B33-7C10395CD797}"/>
                  </a:ext>
                </a:extLst>
              </p:cNvPr>
              <p:cNvSpPr/>
              <p:nvPr/>
            </p:nvSpPr>
            <p:spPr>
              <a:xfrm>
                <a:off x="6926928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45" name="平行四边形 42">
                <a:extLst>
                  <a:ext uri="{FF2B5EF4-FFF2-40B4-BE49-F238E27FC236}">
                    <a16:creationId xmlns:a16="http://schemas.microsoft.com/office/drawing/2014/main" id="{AD93881E-84E3-AE37-D8F4-863F9786D37F}"/>
                  </a:ext>
                </a:extLst>
              </p:cNvPr>
              <p:cNvSpPr/>
              <p:nvPr/>
            </p:nvSpPr>
            <p:spPr>
              <a:xfrm>
                <a:off x="7201010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041" name="等腰三角形 1040">
              <a:extLst>
                <a:ext uri="{FF2B5EF4-FFF2-40B4-BE49-F238E27FC236}">
                  <a16:creationId xmlns:a16="http://schemas.microsoft.com/office/drawing/2014/main" id="{0E2EF1BE-A898-2D14-640B-965E98B0FA61}"/>
                </a:ext>
              </a:extLst>
            </p:cNvPr>
            <p:cNvSpPr/>
            <p:nvPr/>
          </p:nvSpPr>
          <p:spPr>
            <a:xfrm rot="16200000">
              <a:off x="224308" y="2085898"/>
              <a:ext cx="201549" cy="79200"/>
            </a:xfrm>
            <a:prstGeom prst="triangle">
              <a:avLst>
                <a:gd name="adj" fmla="val 100000"/>
              </a:avLst>
            </a:prstGeom>
            <a:solidFill>
              <a:srgbClr val="F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7" name="灯片编号占位符 2">
            <a:extLst>
              <a:ext uri="{FF2B5EF4-FFF2-40B4-BE49-F238E27FC236}">
                <a16:creationId xmlns:a16="http://schemas.microsoft.com/office/drawing/2014/main" id="{06C9663E-CFF5-EB9A-C152-BE8B9727C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1554" y="6623410"/>
            <a:ext cx="252000" cy="196131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174834-AE19-4E6F-B9DB-370160A47D1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1026" name="Rectangle 7">
            <a:extLst>
              <a:ext uri="{FF2B5EF4-FFF2-40B4-BE49-F238E27FC236}">
                <a16:creationId xmlns:a16="http://schemas.microsoft.com/office/drawing/2014/main" id="{6920DCCB-050E-1EC1-35F8-9CE7A802EA56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公平性</a:t>
            </a:r>
          </a:p>
        </p:txBody>
      </p:sp>
      <p:sp>
        <p:nvSpPr>
          <p:cNvPr id="1030" name="标题 5">
            <a:extLst>
              <a:ext uri="{FF2B5EF4-FFF2-40B4-BE49-F238E27FC236}">
                <a16:creationId xmlns:a16="http://schemas.microsoft.com/office/drawing/2014/main" id="{D4F42286-48E0-8365-407A-90CBF3ADF10F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1253469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kumimoji="0" lang="zh-CN" altLang="en-US" sz="30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莫博赛替尼填补目录空白，覆盖人群小，对医保基金影响小</a:t>
            </a:r>
            <a:endParaRPr lang="zh-CN" altLang="en-US" sz="3000" b="1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31" name="文本框 1030">
            <a:extLst>
              <a:ext uri="{FF2B5EF4-FFF2-40B4-BE49-F238E27FC236}">
                <a16:creationId xmlns:a16="http://schemas.microsoft.com/office/drawing/2014/main" id="{39717BC5-1285-D127-899C-1625437C08A1}"/>
              </a:ext>
            </a:extLst>
          </p:cNvPr>
          <p:cNvSpPr txBox="1"/>
          <p:nvPr/>
        </p:nvSpPr>
        <p:spPr>
          <a:xfrm>
            <a:off x="648317" y="3883993"/>
            <a:ext cx="11027745" cy="1062080"/>
          </a:xfrm>
          <a:prstGeom prst="roundRect">
            <a:avLst>
              <a:gd name="adj" fmla="val 9368"/>
            </a:avLst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180000" rIns="144000">
            <a:noAutofit/>
          </a:bodyPr>
          <a:lstStyle/>
          <a:p>
            <a:pPr marL="180000" indent="-180000">
              <a:lnSpc>
                <a:spcPts val="1800"/>
              </a:lnSpc>
              <a:buFont typeface="Arial" panose="020B0604020202020204" pitchFamily="34" charset="0"/>
              <a:buChar char="•"/>
            </a:pPr>
            <a:endParaRPr lang="en-US" altLang="zh-CN" sz="16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2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FR ex20ins NSCLC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诊断明确，诊疗规范，保障医保基金的安全运营</a:t>
            </a:r>
          </a:p>
          <a:p>
            <a:pPr marL="180000" indent="-180000">
              <a:lnSpc>
                <a:spcPts val="22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莫博赛替尼有明确的适应症和靶点，精准治疗提升基金使用效率</a:t>
            </a:r>
          </a:p>
        </p:txBody>
      </p:sp>
      <p:grpSp>
        <p:nvGrpSpPr>
          <p:cNvPr id="1033" name="组合 1032">
            <a:extLst>
              <a:ext uri="{FF2B5EF4-FFF2-40B4-BE49-F238E27FC236}">
                <a16:creationId xmlns:a16="http://schemas.microsoft.com/office/drawing/2014/main" id="{E0E44D5F-025B-A947-2496-C2EF561211D3}"/>
              </a:ext>
            </a:extLst>
          </p:cNvPr>
          <p:cNvGrpSpPr/>
          <p:nvPr/>
        </p:nvGrpSpPr>
        <p:grpSpPr>
          <a:xfrm>
            <a:off x="515938" y="3873678"/>
            <a:ext cx="3239578" cy="387304"/>
            <a:chOff x="285353" y="1562984"/>
            <a:chExt cx="2057791" cy="663288"/>
          </a:xfrm>
        </p:grpSpPr>
        <p:grpSp>
          <p:nvGrpSpPr>
            <p:cNvPr id="1046" name="组合 38">
              <a:extLst>
                <a:ext uri="{FF2B5EF4-FFF2-40B4-BE49-F238E27FC236}">
                  <a16:creationId xmlns:a16="http://schemas.microsoft.com/office/drawing/2014/main" id="{06AE3CDF-3B33-FE44-1E38-24F4E79999B9}"/>
                </a:ext>
              </a:extLst>
            </p:cNvPr>
            <p:cNvGrpSpPr/>
            <p:nvPr/>
          </p:nvGrpSpPr>
          <p:grpSpPr>
            <a:xfrm>
              <a:off x="285353" y="1562984"/>
              <a:ext cx="2057791" cy="461738"/>
              <a:chOff x="3571395" y="3482112"/>
              <a:chExt cx="4003867" cy="340257"/>
            </a:xfrm>
          </p:grpSpPr>
          <p:sp>
            <p:nvSpPr>
              <p:cNvPr id="1055" name="任意多边形 43">
                <a:extLst>
                  <a:ext uri="{FF2B5EF4-FFF2-40B4-BE49-F238E27FC236}">
                    <a16:creationId xmlns:a16="http://schemas.microsoft.com/office/drawing/2014/main" id="{689B5F8B-432E-1CC7-A0A4-0ED15D698685}"/>
                  </a:ext>
                </a:extLst>
              </p:cNvPr>
              <p:cNvSpPr/>
              <p:nvPr/>
            </p:nvSpPr>
            <p:spPr>
              <a:xfrm>
                <a:off x="3571395" y="3482113"/>
                <a:ext cx="3161203" cy="340256"/>
              </a:xfrm>
              <a:custGeom>
                <a:avLst/>
                <a:gdLst>
                  <a:gd name="connsiteX0" fmla="*/ 0 w 3161201"/>
                  <a:gd name="connsiteY0" fmla="*/ 0 h 768491"/>
                  <a:gd name="connsiteX1" fmla="*/ 354694 w 3161201"/>
                  <a:gd name="connsiteY1" fmla="*/ 0 h 768491"/>
                  <a:gd name="connsiteX2" fmla="*/ 407839 w 3161201"/>
                  <a:gd name="connsiteY2" fmla="*/ 0 h 768491"/>
                  <a:gd name="connsiteX3" fmla="*/ 3161201 w 3161201"/>
                  <a:gd name="connsiteY3" fmla="*/ 0 h 768491"/>
                  <a:gd name="connsiteX4" fmla="*/ 2969078 w 3161201"/>
                  <a:gd name="connsiteY4" fmla="*/ 768491 h 768491"/>
                  <a:gd name="connsiteX5" fmla="*/ 407839 w 3161201"/>
                  <a:gd name="connsiteY5" fmla="*/ 768491 h 768491"/>
                  <a:gd name="connsiteX6" fmla="*/ 162571 w 3161201"/>
                  <a:gd name="connsiteY6" fmla="*/ 768491 h 768491"/>
                  <a:gd name="connsiteX7" fmla="*/ 0 w 3161201"/>
                  <a:gd name="connsiteY7" fmla="*/ 768491 h 76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61201" h="768491">
                    <a:moveTo>
                      <a:pt x="0" y="0"/>
                    </a:moveTo>
                    <a:lnTo>
                      <a:pt x="354694" y="0"/>
                    </a:lnTo>
                    <a:lnTo>
                      <a:pt x="407839" y="0"/>
                    </a:lnTo>
                    <a:lnTo>
                      <a:pt x="3161201" y="0"/>
                    </a:lnTo>
                    <a:lnTo>
                      <a:pt x="2969078" y="768491"/>
                    </a:lnTo>
                    <a:lnTo>
                      <a:pt x="407839" y="768491"/>
                    </a:lnTo>
                    <a:lnTo>
                      <a:pt x="162571" y="768491"/>
                    </a:lnTo>
                    <a:lnTo>
                      <a:pt x="0" y="768491"/>
                    </a:lnTo>
                    <a:close/>
                  </a:path>
                </a:pathLst>
              </a:custGeom>
              <a:solidFill>
                <a:srgbClr val="B30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r>
                  <a:rPr lang="zh-CN" altLang="en-US" sz="1400" b="1" dirty="0">
                    <a:solidFill>
                      <a:schemeClr val="bg1"/>
                    </a:solidFill>
                    <a:effectLst/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临床管理难度低</a:t>
                </a:r>
              </a:p>
            </p:txBody>
          </p:sp>
          <p:sp>
            <p:nvSpPr>
              <p:cNvPr id="1056" name="平行四边形 40">
                <a:extLst>
                  <a:ext uri="{FF2B5EF4-FFF2-40B4-BE49-F238E27FC236}">
                    <a16:creationId xmlns:a16="http://schemas.microsoft.com/office/drawing/2014/main" id="{438E00E2-266D-6CFC-D0E0-3C595FEAA78B}"/>
                  </a:ext>
                </a:extLst>
              </p:cNvPr>
              <p:cNvSpPr/>
              <p:nvPr/>
            </p:nvSpPr>
            <p:spPr>
              <a:xfrm>
                <a:off x="6631919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57" name="平行四边形 41">
                <a:extLst>
                  <a:ext uri="{FF2B5EF4-FFF2-40B4-BE49-F238E27FC236}">
                    <a16:creationId xmlns:a16="http://schemas.microsoft.com/office/drawing/2014/main" id="{5EA9B1F8-ED7A-FAB7-C822-3621DAD46A4D}"/>
                  </a:ext>
                </a:extLst>
              </p:cNvPr>
              <p:cNvSpPr/>
              <p:nvPr/>
            </p:nvSpPr>
            <p:spPr>
              <a:xfrm>
                <a:off x="6926928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58" name="平行四边形 42">
                <a:extLst>
                  <a:ext uri="{FF2B5EF4-FFF2-40B4-BE49-F238E27FC236}">
                    <a16:creationId xmlns:a16="http://schemas.microsoft.com/office/drawing/2014/main" id="{55437624-E036-F832-7EF6-9203ABA88E1B}"/>
                  </a:ext>
                </a:extLst>
              </p:cNvPr>
              <p:cNvSpPr/>
              <p:nvPr/>
            </p:nvSpPr>
            <p:spPr>
              <a:xfrm>
                <a:off x="7201010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054" name="等腰三角形 1053">
              <a:extLst>
                <a:ext uri="{FF2B5EF4-FFF2-40B4-BE49-F238E27FC236}">
                  <a16:creationId xmlns:a16="http://schemas.microsoft.com/office/drawing/2014/main" id="{FC98830D-E1D8-CE01-E389-4182465AD485}"/>
                </a:ext>
              </a:extLst>
            </p:cNvPr>
            <p:cNvSpPr/>
            <p:nvPr/>
          </p:nvSpPr>
          <p:spPr>
            <a:xfrm rot="16200000">
              <a:off x="224308" y="2085898"/>
              <a:ext cx="201549" cy="79200"/>
            </a:xfrm>
            <a:prstGeom prst="triangle">
              <a:avLst>
                <a:gd name="adj" fmla="val 100000"/>
              </a:avLst>
            </a:prstGeom>
            <a:solidFill>
              <a:srgbClr val="F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1059" name="文本框 1058">
            <a:extLst>
              <a:ext uri="{FF2B5EF4-FFF2-40B4-BE49-F238E27FC236}">
                <a16:creationId xmlns:a16="http://schemas.microsoft.com/office/drawing/2014/main" id="{C516DC87-A62B-6D19-674E-B5D9A006D7A8}"/>
              </a:ext>
            </a:extLst>
          </p:cNvPr>
          <p:cNvSpPr txBox="1"/>
          <p:nvPr/>
        </p:nvSpPr>
        <p:spPr>
          <a:xfrm>
            <a:off x="648317" y="2888824"/>
            <a:ext cx="11027745" cy="852366"/>
          </a:xfrm>
          <a:prstGeom prst="roundRect">
            <a:avLst>
              <a:gd name="adj" fmla="val 12496"/>
            </a:avLst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180000" rIns="144000">
            <a:noAutofit/>
          </a:bodyPr>
          <a:lstStyle/>
          <a:p>
            <a:pPr marL="180000" indent="-180000">
              <a:lnSpc>
                <a:spcPts val="18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zh-CN" altLang="en-US" sz="16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1800"/>
              </a:lnSpc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FR ex20ins NSCLC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目录内无靶向药物，莫博赛替尼</a:t>
            </a:r>
            <a:r>
              <a:rPr lang="zh-CN" altLang="en-US" sz="1600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填补目录空白</a:t>
            </a:r>
          </a:p>
        </p:txBody>
      </p:sp>
      <p:grpSp>
        <p:nvGrpSpPr>
          <p:cNvPr id="1060" name="组合 1059">
            <a:extLst>
              <a:ext uri="{FF2B5EF4-FFF2-40B4-BE49-F238E27FC236}">
                <a16:creationId xmlns:a16="http://schemas.microsoft.com/office/drawing/2014/main" id="{1BF133AD-1A7D-12E3-6FB0-92AD1079E928}"/>
              </a:ext>
            </a:extLst>
          </p:cNvPr>
          <p:cNvGrpSpPr/>
          <p:nvPr/>
        </p:nvGrpSpPr>
        <p:grpSpPr>
          <a:xfrm>
            <a:off x="515938" y="2883806"/>
            <a:ext cx="3239578" cy="387304"/>
            <a:chOff x="285353" y="1562984"/>
            <a:chExt cx="2057791" cy="663288"/>
          </a:xfrm>
        </p:grpSpPr>
        <p:grpSp>
          <p:nvGrpSpPr>
            <p:cNvPr id="1061" name="组合 38">
              <a:extLst>
                <a:ext uri="{FF2B5EF4-FFF2-40B4-BE49-F238E27FC236}">
                  <a16:creationId xmlns:a16="http://schemas.microsoft.com/office/drawing/2014/main" id="{6A4F8B63-B1DC-9BDC-1E88-C282249C4B12}"/>
                </a:ext>
              </a:extLst>
            </p:cNvPr>
            <p:cNvGrpSpPr/>
            <p:nvPr/>
          </p:nvGrpSpPr>
          <p:grpSpPr>
            <a:xfrm>
              <a:off x="285353" y="1562984"/>
              <a:ext cx="2057791" cy="461738"/>
              <a:chOff x="3571395" y="3482112"/>
              <a:chExt cx="4003867" cy="340257"/>
            </a:xfrm>
          </p:grpSpPr>
          <p:sp>
            <p:nvSpPr>
              <p:cNvPr id="1063" name="任意多边形 43">
                <a:extLst>
                  <a:ext uri="{FF2B5EF4-FFF2-40B4-BE49-F238E27FC236}">
                    <a16:creationId xmlns:a16="http://schemas.microsoft.com/office/drawing/2014/main" id="{DF3FAF60-A757-ECA3-BFD1-0860FF76F590}"/>
                  </a:ext>
                </a:extLst>
              </p:cNvPr>
              <p:cNvSpPr/>
              <p:nvPr/>
            </p:nvSpPr>
            <p:spPr>
              <a:xfrm>
                <a:off x="3571395" y="3482113"/>
                <a:ext cx="3161203" cy="340256"/>
              </a:xfrm>
              <a:custGeom>
                <a:avLst/>
                <a:gdLst>
                  <a:gd name="connsiteX0" fmla="*/ 0 w 3161201"/>
                  <a:gd name="connsiteY0" fmla="*/ 0 h 768491"/>
                  <a:gd name="connsiteX1" fmla="*/ 354694 w 3161201"/>
                  <a:gd name="connsiteY1" fmla="*/ 0 h 768491"/>
                  <a:gd name="connsiteX2" fmla="*/ 407839 w 3161201"/>
                  <a:gd name="connsiteY2" fmla="*/ 0 h 768491"/>
                  <a:gd name="connsiteX3" fmla="*/ 3161201 w 3161201"/>
                  <a:gd name="connsiteY3" fmla="*/ 0 h 768491"/>
                  <a:gd name="connsiteX4" fmla="*/ 2969078 w 3161201"/>
                  <a:gd name="connsiteY4" fmla="*/ 768491 h 768491"/>
                  <a:gd name="connsiteX5" fmla="*/ 407839 w 3161201"/>
                  <a:gd name="connsiteY5" fmla="*/ 768491 h 768491"/>
                  <a:gd name="connsiteX6" fmla="*/ 162571 w 3161201"/>
                  <a:gd name="connsiteY6" fmla="*/ 768491 h 768491"/>
                  <a:gd name="connsiteX7" fmla="*/ 0 w 3161201"/>
                  <a:gd name="connsiteY7" fmla="*/ 768491 h 768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61201" h="768491">
                    <a:moveTo>
                      <a:pt x="0" y="0"/>
                    </a:moveTo>
                    <a:lnTo>
                      <a:pt x="354694" y="0"/>
                    </a:lnTo>
                    <a:lnTo>
                      <a:pt x="407839" y="0"/>
                    </a:lnTo>
                    <a:lnTo>
                      <a:pt x="3161201" y="0"/>
                    </a:lnTo>
                    <a:lnTo>
                      <a:pt x="2969078" y="768491"/>
                    </a:lnTo>
                    <a:lnTo>
                      <a:pt x="407839" y="768491"/>
                    </a:lnTo>
                    <a:lnTo>
                      <a:pt x="162571" y="768491"/>
                    </a:lnTo>
                    <a:lnTo>
                      <a:pt x="0" y="768491"/>
                    </a:lnTo>
                    <a:close/>
                  </a:path>
                </a:pathLst>
              </a:custGeom>
              <a:solidFill>
                <a:srgbClr val="B30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r>
                  <a:rPr lang="zh-CN" altLang="en-US" sz="1400" b="1" dirty="0">
                    <a:solidFill>
                      <a:schemeClr val="bg1"/>
                    </a:solidFill>
                    <a:effectLst/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弥补目录短板</a:t>
                </a:r>
              </a:p>
            </p:txBody>
          </p:sp>
          <p:sp>
            <p:nvSpPr>
              <p:cNvPr id="1064" name="平行四边形 40">
                <a:extLst>
                  <a:ext uri="{FF2B5EF4-FFF2-40B4-BE49-F238E27FC236}">
                    <a16:creationId xmlns:a16="http://schemas.microsoft.com/office/drawing/2014/main" id="{50A435F9-EEA9-4A3D-0409-C470ABD656B5}"/>
                  </a:ext>
                </a:extLst>
              </p:cNvPr>
              <p:cNvSpPr/>
              <p:nvPr/>
            </p:nvSpPr>
            <p:spPr>
              <a:xfrm>
                <a:off x="6631919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65" name="平行四边形 41">
                <a:extLst>
                  <a:ext uri="{FF2B5EF4-FFF2-40B4-BE49-F238E27FC236}">
                    <a16:creationId xmlns:a16="http://schemas.microsoft.com/office/drawing/2014/main" id="{143D9BA8-9E3B-18FF-7B63-FD5C4DE69B66}"/>
                  </a:ext>
                </a:extLst>
              </p:cNvPr>
              <p:cNvSpPr/>
              <p:nvPr/>
            </p:nvSpPr>
            <p:spPr>
              <a:xfrm>
                <a:off x="6926928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66" name="平行四边形 42">
                <a:extLst>
                  <a:ext uri="{FF2B5EF4-FFF2-40B4-BE49-F238E27FC236}">
                    <a16:creationId xmlns:a16="http://schemas.microsoft.com/office/drawing/2014/main" id="{9C5AD9C1-C371-457D-9AF2-E148CE252EFB}"/>
                  </a:ext>
                </a:extLst>
              </p:cNvPr>
              <p:cNvSpPr/>
              <p:nvPr/>
            </p:nvSpPr>
            <p:spPr>
              <a:xfrm>
                <a:off x="7201010" y="3482112"/>
                <a:ext cx="374252" cy="340257"/>
              </a:xfrm>
              <a:prstGeom prst="parallelogram">
                <a:avLst>
                  <a:gd name="adj" fmla="val 52304"/>
                </a:avLst>
              </a:prstGeom>
              <a:solidFill>
                <a:srgbClr val="B30D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062" name="等腰三角形 1061">
              <a:extLst>
                <a:ext uri="{FF2B5EF4-FFF2-40B4-BE49-F238E27FC236}">
                  <a16:creationId xmlns:a16="http://schemas.microsoft.com/office/drawing/2014/main" id="{ECC515B4-0F47-7E22-6797-85AA87C28711}"/>
                </a:ext>
              </a:extLst>
            </p:cNvPr>
            <p:cNvSpPr/>
            <p:nvPr/>
          </p:nvSpPr>
          <p:spPr>
            <a:xfrm rot="16200000">
              <a:off x="224308" y="2085898"/>
              <a:ext cx="201549" cy="79200"/>
            </a:xfrm>
            <a:prstGeom prst="triangle">
              <a:avLst>
                <a:gd name="adj" fmla="val 100000"/>
              </a:avLst>
            </a:prstGeom>
            <a:solidFill>
              <a:srgbClr val="F0CF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3" name="文本框 2">
            <a:extLst>
              <a:ext uri="{FF2B5EF4-FFF2-40B4-BE49-F238E27FC236}">
                <a16:creationId xmlns:a16="http://schemas.microsoft.com/office/drawing/2014/main" id="{F848F3B8-FC1C-CF01-DBF9-57D8B5B01D8B}"/>
              </a:ext>
            </a:extLst>
          </p:cNvPr>
          <p:cNvSpPr txBox="1"/>
          <p:nvPr/>
        </p:nvSpPr>
        <p:spPr>
          <a:xfrm>
            <a:off x="450852" y="6273372"/>
            <a:ext cx="1122521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fr-FR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ristopoulos</a:t>
            </a:r>
            <a:r>
              <a:rPr lang="fr-FR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P, et al. Lung Cancer, 2023, 179: 107191</a:t>
            </a:r>
            <a:endParaRPr lang="en-US" altLang="zh-CN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125680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BEEE037B-34EC-4DB8-8EA6-6D81E0EF75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BEEE037B-34EC-4DB8-8EA6-6D81E0EF7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组合 2">
            <a:extLst>
              <a:ext uri="{FF2B5EF4-FFF2-40B4-BE49-F238E27FC236}">
                <a16:creationId xmlns:a16="http://schemas.microsoft.com/office/drawing/2014/main" id="{5953E91D-EC62-A86D-8DBB-399ED31C4529}"/>
              </a:ext>
            </a:extLst>
          </p:cNvPr>
          <p:cNvGrpSpPr/>
          <p:nvPr/>
        </p:nvGrpSpPr>
        <p:grpSpPr>
          <a:xfrm>
            <a:off x="2309145" y="1974489"/>
            <a:ext cx="7573711" cy="3232872"/>
            <a:chOff x="2265184" y="2093918"/>
            <a:chExt cx="7573711" cy="3232872"/>
          </a:xfrm>
        </p:grpSpPr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7CC96710-2E71-40ED-84D1-CBA8EB856549}"/>
                </a:ext>
              </a:extLst>
            </p:cNvPr>
            <p:cNvSpPr/>
            <p:nvPr/>
          </p:nvSpPr>
          <p:spPr>
            <a:xfrm>
              <a:off x="3160522" y="2109800"/>
              <a:ext cx="2051958" cy="49145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基本信息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ED6B36F4-8730-29CF-ECC7-FC93805DB5F2}"/>
                </a:ext>
              </a:extLst>
            </p:cNvPr>
            <p:cNvGrpSpPr/>
            <p:nvPr/>
          </p:nvGrpSpPr>
          <p:grpSpPr>
            <a:xfrm>
              <a:off x="2265184" y="2093918"/>
              <a:ext cx="627095" cy="523220"/>
              <a:chOff x="1884737" y="1587543"/>
              <a:chExt cx="627095" cy="523220"/>
            </a:xfrm>
          </p:grpSpPr>
          <p:sp>
            <p:nvSpPr>
              <p:cNvPr id="20" name="等腰三角形 76">
                <a:extLst>
                  <a:ext uri="{FF2B5EF4-FFF2-40B4-BE49-F238E27FC236}">
                    <a16:creationId xmlns:a16="http://schemas.microsoft.com/office/drawing/2014/main" id="{8FEDAA81-69E3-9BD5-A7C7-53F33A5B165C}"/>
                  </a:ext>
                </a:extLst>
              </p:cNvPr>
              <p:cNvSpPr/>
              <p:nvPr/>
            </p:nvSpPr>
            <p:spPr>
              <a:xfrm rot="6271357" flipV="1">
                <a:off x="2171456" y="1752148"/>
                <a:ext cx="321900" cy="287310"/>
              </a:xfrm>
              <a:custGeom>
                <a:avLst/>
                <a:gdLst>
                  <a:gd name="connsiteX0" fmla="*/ 0 w 2564441"/>
                  <a:gd name="connsiteY0" fmla="*/ 2210725 h 2210725"/>
                  <a:gd name="connsiteX1" fmla="*/ 1282221 w 2564441"/>
                  <a:gd name="connsiteY1" fmla="*/ 0 h 2210725"/>
                  <a:gd name="connsiteX2" fmla="*/ 2564441 w 2564441"/>
                  <a:gd name="connsiteY2" fmla="*/ 2210725 h 2210725"/>
                  <a:gd name="connsiteX3" fmla="*/ 0 w 2564441"/>
                  <a:gd name="connsiteY3" fmla="*/ 2210725 h 221072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517098"/>
                  <a:gd name="connsiteX1" fmla="*/ 1282221 w 2564441"/>
                  <a:gd name="connsiteY1" fmla="*/ 35440 h 2517098"/>
                  <a:gd name="connsiteX2" fmla="*/ 2564441 w 2564441"/>
                  <a:gd name="connsiteY2" fmla="*/ 2246165 h 2517098"/>
                  <a:gd name="connsiteX3" fmla="*/ 0 w 2564441"/>
                  <a:gd name="connsiteY3" fmla="*/ 2246165 h 2517098"/>
                  <a:gd name="connsiteX0" fmla="*/ 41119 w 2605560"/>
                  <a:gd name="connsiteY0" fmla="*/ 2246165 h 2517098"/>
                  <a:gd name="connsiteX1" fmla="*/ 1323340 w 2605560"/>
                  <a:gd name="connsiteY1" fmla="*/ 35440 h 2517098"/>
                  <a:gd name="connsiteX2" fmla="*/ 2605560 w 2605560"/>
                  <a:gd name="connsiteY2" fmla="*/ 2246165 h 2517098"/>
                  <a:gd name="connsiteX3" fmla="*/ 41119 w 2605560"/>
                  <a:gd name="connsiteY3" fmla="*/ 2246165 h 2517098"/>
                  <a:gd name="connsiteX0" fmla="*/ 41119 w 2698397"/>
                  <a:gd name="connsiteY0" fmla="*/ 2246165 h 2517098"/>
                  <a:gd name="connsiteX1" fmla="*/ 1323340 w 2698397"/>
                  <a:gd name="connsiteY1" fmla="*/ 35440 h 2517098"/>
                  <a:gd name="connsiteX2" fmla="*/ 2605560 w 2698397"/>
                  <a:gd name="connsiteY2" fmla="*/ 2246165 h 2517098"/>
                  <a:gd name="connsiteX3" fmla="*/ 41119 w 2698397"/>
                  <a:gd name="connsiteY3" fmla="*/ 2246165 h 2517098"/>
                  <a:gd name="connsiteX0" fmla="*/ 41119 w 2698397"/>
                  <a:gd name="connsiteY0" fmla="*/ 2246165 h 2687187"/>
                  <a:gd name="connsiteX1" fmla="*/ 1323340 w 2698397"/>
                  <a:gd name="connsiteY1" fmla="*/ 35440 h 2687187"/>
                  <a:gd name="connsiteX2" fmla="*/ 2605560 w 2698397"/>
                  <a:gd name="connsiteY2" fmla="*/ 2246165 h 2687187"/>
                  <a:gd name="connsiteX3" fmla="*/ 41119 w 2698397"/>
                  <a:gd name="connsiteY3" fmla="*/ 2246165 h 2687187"/>
                  <a:gd name="connsiteX0" fmla="*/ 0 w 2657278"/>
                  <a:gd name="connsiteY0" fmla="*/ 2246165 h 2687187"/>
                  <a:gd name="connsiteX1" fmla="*/ 1282221 w 2657278"/>
                  <a:gd name="connsiteY1" fmla="*/ 35440 h 2687187"/>
                  <a:gd name="connsiteX2" fmla="*/ 2564441 w 2657278"/>
                  <a:gd name="connsiteY2" fmla="*/ 2246165 h 2687187"/>
                  <a:gd name="connsiteX3" fmla="*/ 0 w 2657278"/>
                  <a:gd name="connsiteY3" fmla="*/ 2246165 h 2687187"/>
                  <a:gd name="connsiteX0" fmla="*/ 0 w 2657278"/>
                  <a:gd name="connsiteY0" fmla="*/ 2246165 h 2654542"/>
                  <a:gd name="connsiteX1" fmla="*/ 1282221 w 2657278"/>
                  <a:gd name="connsiteY1" fmla="*/ 35440 h 2654542"/>
                  <a:gd name="connsiteX2" fmla="*/ 2564441 w 2657278"/>
                  <a:gd name="connsiteY2" fmla="*/ 2246165 h 2654542"/>
                  <a:gd name="connsiteX3" fmla="*/ 0 w 2657278"/>
                  <a:gd name="connsiteY3" fmla="*/ 2246165 h 2654542"/>
                  <a:gd name="connsiteX0" fmla="*/ 57808 w 2715086"/>
                  <a:gd name="connsiteY0" fmla="*/ 2246165 h 2654542"/>
                  <a:gd name="connsiteX1" fmla="*/ 1340029 w 2715086"/>
                  <a:gd name="connsiteY1" fmla="*/ 35440 h 2654542"/>
                  <a:gd name="connsiteX2" fmla="*/ 2622249 w 2715086"/>
                  <a:gd name="connsiteY2" fmla="*/ 2246165 h 2654542"/>
                  <a:gd name="connsiteX3" fmla="*/ 57808 w 2715086"/>
                  <a:gd name="connsiteY3" fmla="*/ 2246165 h 2654542"/>
                  <a:gd name="connsiteX0" fmla="*/ 57808 w 2653271"/>
                  <a:gd name="connsiteY0" fmla="*/ 2240363 h 2648740"/>
                  <a:gd name="connsiteX1" fmla="*/ 1340029 w 2653271"/>
                  <a:gd name="connsiteY1" fmla="*/ 29638 h 2648740"/>
                  <a:gd name="connsiteX2" fmla="*/ 2622249 w 2653271"/>
                  <a:gd name="connsiteY2" fmla="*/ 2240363 h 2648740"/>
                  <a:gd name="connsiteX3" fmla="*/ 57808 w 2653271"/>
                  <a:gd name="connsiteY3" fmla="*/ 2240363 h 2648740"/>
                  <a:gd name="connsiteX0" fmla="*/ 57808 w 2653271"/>
                  <a:gd name="connsiteY0" fmla="*/ 2240363 h 2570137"/>
                  <a:gd name="connsiteX1" fmla="*/ 1340029 w 2653271"/>
                  <a:gd name="connsiteY1" fmla="*/ 29638 h 2570137"/>
                  <a:gd name="connsiteX2" fmla="*/ 2622249 w 2653271"/>
                  <a:gd name="connsiteY2" fmla="*/ 2240363 h 2570137"/>
                  <a:gd name="connsiteX3" fmla="*/ 57808 w 2653271"/>
                  <a:gd name="connsiteY3" fmla="*/ 2240363 h 257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3271" h="2570137">
                    <a:moveTo>
                      <a:pt x="57808" y="2240363"/>
                    </a:moveTo>
                    <a:cubicBezTo>
                      <a:pt x="-240499" y="1866312"/>
                      <a:pt x="680394" y="142432"/>
                      <a:pt x="1340029" y="29638"/>
                    </a:cubicBezTo>
                    <a:cubicBezTo>
                      <a:pt x="2043207" y="-278482"/>
                      <a:pt x="2818956" y="1909855"/>
                      <a:pt x="2622249" y="2240363"/>
                    </a:cubicBezTo>
                    <a:cubicBezTo>
                      <a:pt x="2362520" y="2588705"/>
                      <a:pt x="404622" y="2762878"/>
                      <a:pt x="57808" y="2240363"/>
                    </a:cubicBezTo>
                    <a:close/>
                  </a:path>
                </a:pathLst>
              </a:custGeom>
              <a:solidFill>
                <a:schemeClr val="accent1"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29DD16CA-77F9-B6F6-F94B-C481A9ACEFE4}"/>
                  </a:ext>
                </a:extLst>
              </p:cNvPr>
              <p:cNvSpPr txBox="1"/>
              <p:nvPr/>
            </p:nvSpPr>
            <p:spPr>
              <a:xfrm>
                <a:off x="1884737" y="1587543"/>
                <a:ext cx="62709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1" i="1" u="none" strike="noStrike" kern="1200" cap="none" spc="0" normalizeH="0" baseline="0" noProof="0" dirty="0">
                    <a:ln>
                      <a:solidFill>
                        <a:prstClr val="white"/>
                      </a:solidFill>
                    </a:ln>
                    <a:solidFill>
                      <a:schemeClr val="accent1">
                        <a:lumMod val="75000"/>
                      </a:schemeClr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01</a:t>
                </a:r>
                <a:endParaRPr kumimoji="0" lang="zh-CN" altLang="en-US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1397E69A-6586-4D93-F79A-AD4E39343875}"/>
                </a:ext>
              </a:extLst>
            </p:cNvPr>
            <p:cNvSpPr/>
            <p:nvPr/>
          </p:nvSpPr>
          <p:spPr>
            <a:xfrm>
              <a:off x="7786937" y="2109800"/>
              <a:ext cx="2051958" cy="49145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有效性</a:t>
              </a:r>
            </a:p>
          </p:txBody>
        </p: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698C5A07-C8A9-ED27-0D93-8B7D3782B071}"/>
                </a:ext>
              </a:extLst>
            </p:cNvPr>
            <p:cNvGrpSpPr/>
            <p:nvPr/>
          </p:nvGrpSpPr>
          <p:grpSpPr>
            <a:xfrm>
              <a:off x="6891599" y="2093918"/>
              <a:ext cx="627095" cy="523220"/>
              <a:chOff x="1884737" y="1587543"/>
              <a:chExt cx="627095" cy="523220"/>
            </a:xfrm>
          </p:grpSpPr>
          <p:sp>
            <p:nvSpPr>
              <p:cNvPr id="28" name="等腰三角形 76">
                <a:extLst>
                  <a:ext uri="{FF2B5EF4-FFF2-40B4-BE49-F238E27FC236}">
                    <a16:creationId xmlns:a16="http://schemas.microsoft.com/office/drawing/2014/main" id="{991C3FE4-CD93-3378-BD48-807C8EBB8369}"/>
                  </a:ext>
                </a:extLst>
              </p:cNvPr>
              <p:cNvSpPr/>
              <p:nvPr/>
            </p:nvSpPr>
            <p:spPr>
              <a:xfrm rot="6271357" flipV="1">
                <a:off x="2171456" y="1752148"/>
                <a:ext cx="321900" cy="287310"/>
              </a:xfrm>
              <a:custGeom>
                <a:avLst/>
                <a:gdLst>
                  <a:gd name="connsiteX0" fmla="*/ 0 w 2564441"/>
                  <a:gd name="connsiteY0" fmla="*/ 2210725 h 2210725"/>
                  <a:gd name="connsiteX1" fmla="*/ 1282221 w 2564441"/>
                  <a:gd name="connsiteY1" fmla="*/ 0 h 2210725"/>
                  <a:gd name="connsiteX2" fmla="*/ 2564441 w 2564441"/>
                  <a:gd name="connsiteY2" fmla="*/ 2210725 h 2210725"/>
                  <a:gd name="connsiteX3" fmla="*/ 0 w 2564441"/>
                  <a:gd name="connsiteY3" fmla="*/ 2210725 h 221072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517098"/>
                  <a:gd name="connsiteX1" fmla="*/ 1282221 w 2564441"/>
                  <a:gd name="connsiteY1" fmla="*/ 35440 h 2517098"/>
                  <a:gd name="connsiteX2" fmla="*/ 2564441 w 2564441"/>
                  <a:gd name="connsiteY2" fmla="*/ 2246165 h 2517098"/>
                  <a:gd name="connsiteX3" fmla="*/ 0 w 2564441"/>
                  <a:gd name="connsiteY3" fmla="*/ 2246165 h 2517098"/>
                  <a:gd name="connsiteX0" fmla="*/ 41119 w 2605560"/>
                  <a:gd name="connsiteY0" fmla="*/ 2246165 h 2517098"/>
                  <a:gd name="connsiteX1" fmla="*/ 1323340 w 2605560"/>
                  <a:gd name="connsiteY1" fmla="*/ 35440 h 2517098"/>
                  <a:gd name="connsiteX2" fmla="*/ 2605560 w 2605560"/>
                  <a:gd name="connsiteY2" fmla="*/ 2246165 h 2517098"/>
                  <a:gd name="connsiteX3" fmla="*/ 41119 w 2605560"/>
                  <a:gd name="connsiteY3" fmla="*/ 2246165 h 2517098"/>
                  <a:gd name="connsiteX0" fmla="*/ 41119 w 2698397"/>
                  <a:gd name="connsiteY0" fmla="*/ 2246165 h 2517098"/>
                  <a:gd name="connsiteX1" fmla="*/ 1323340 w 2698397"/>
                  <a:gd name="connsiteY1" fmla="*/ 35440 h 2517098"/>
                  <a:gd name="connsiteX2" fmla="*/ 2605560 w 2698397"/>
                  <a:gd name="connsiteY2" fmla="*/ 2246165 h 2517098"/>
                  <a:gd name="connsiteX3" fmla="*/ 41119 w 2698397"/>
                  <a:gd name="connsiteY3" fmla="*/ 2246165 h 2517098"/>
                  <a:gd name="connsiteX0" fmla="*/ 41119 w 2698397"/>
                  <a:gd name="connsiteY0" fmla="*/ 2246165 h 2687187"/>
                  <a:gd name="connsiteX1" fmla="*/ 1323340 w 2698397"/>
                  <a:gd name="connsiteY1" fmla="*/ 35440 h 2687187"/>
                  <a:gd name="connsiteX2" fmla="*/ 2605560 w 2698397"/>
                  <a:gd name="connsiteY2" fmla="*/ 2246165 h 2687187"/>
                  <a:gd name="connsiteX3" fmla="*/ 41119 w 2698397"/>
                  <a:gd name="connsiteY3" fmla="*/ 2246165 h 2687187"/>
                  <a:gd name="connsiteX0" fmla="*/ 0 w 2657278"/>
                  <a:gd name="connsiteY0" fmla="*/ 2246165 h 2687187"/>
                  <a:gd name="connsiteX1" fmla="*/ 1282221 w 2657278"/>
                  <a:gd name="connsiteY1" fmla="*/ 35440 h 2687187"/>
                  <a:gd name="connsiteX2" fmla="*/ 2564441 w 2657278"/>
                  <a:gd name="connsiteY2" fmla="*/ 2246165 h 2687187"/>
                  <a:gd name="connsiteX3" fmla="*/ 0 w 2657278"/>
                  <a:gd name="connsiteY3" fmla="*/ 2246165 h 2687187"/>
                  <a:gd name="connsiteX0" fmla="*/ 0 w 2657278"/>
                  <a:gd name="connsiteY0" fmla="*/ 2246165 h 2654542"/>
                  <a:gd name="connsiteX1" fmla="*/ 1282221 w 2657278"/>
                  <a:gd name="connsiteY1" fmla="*/ 35440 h 2654542"/>
                  <a:gd name="connsiteX2" fmla="*/ 2564441 w 2657278"/>
                  <a:gd name="connsiteY2" fmla="*/ 2246165 h 2654542"/>
                  <a:gd name="connsiteX3" fmla="*/ 0 w 2657278"/>
                  <a:gd name="connsiteY3" fmla="*/ 2246165 h 2654542"/>
                  <a:gd name="connsiteX0" fmla="*/ 57808 w 2715086"/>
                  <a:gd name="connsiteY0" fmla="*/ 2246165 h 2654542"/>
                  <a:gd name="connsiteX1" fmla="*/ 1340029 w 2715086"/>
                  <a:gd name="connsiteY1" fmla="*/ 35440 h 2654542"/>
                  <a:gd name="connsiteX2" fmla="*/ 2622249 w 2715086"/>
                  <a:gd name="connsiteY2" fmla="*/ 2246165 h 2654542"/>
                  <a:gd name="connsiteX3" fmla="*/ 57808 w 2715086"/>
                  <a:gd name="connsiteY3" fmla="*/ 2246165 h 2654542"/>
                  <a:gd name="connsiteX0" fmla="*/ 57808 w 2653271"/>
                  <a:gd name="connsiteY0" fmla="*/ 2240363 h 2648740"/>
                  <a:gd name="connsiteX1" fmla="*/ 1340029 w 2653271"/>
                  <a:gd name="connsiteY1" fmla="*/ 29638 h 2648740"/>
                  <a:gd name="connsiteX2" fmla="*/ 2622249 w 2653271"/>
                  <a:gd name="connsiteY2" fmla="*/ 2240363 h 2648740"/>
                  <a:gd name="connsiteX3" fmla="*/ 57808 w 2653271"/>
                  <a:gd name="connsiteY3" fmla="*/ 2240363 h 2648740"/>
                  <a:gd name="connsiteX0" fmla="*/ 57808 w 2653271"/>
                  <a:gd name="connsiteY0" fmla="*/ 2240363 h 2570137"/>
                  <a:gd name="connsiteX1" fmla="*/ 1340029 w 2653271"/>
                  <a:gd name="connsiteY1" fmla="*/ 29638 h 2570137"/>
                  <a:gd name="connsiteX2" fmla="*/ 2622249 w 2653271"/>
                  <a:gd name="connsiteY2" fmla="*/ 2240363 h 2570137"/>
                  <a:gd name="connsiteX3" fmla="*/ 57808 w 2653271"/>
                  <a:gd name="connsiteY3" fmla="*/ 2240363 h 257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3271" h="2570137">
                    <a:moveTo>
                      <a:pt x="57808" y="2240363"/>
                    </a:moveTo>
                    <a:cubicBezTo>
                      <a:pt x="-240499" y="1866312"/>
                      <a:pt x="680394" y="142432"/>
                      <a:pt x="1340029" y="29638"/>
                    </a:cubicBezTo>
                    <a:cubicBezTo>
                      <a:pt x="2043207" y="-278482"/>
                      <a:pt x="2818956" y="1909855"/>
                      <a:pt x="2622249" y="2240363"/>
                    </a:cubicBezTo>
                    <a:cubicBezTo>
                      <a:pt x="2362520" y="2588705"/>
                      <a:pt x="404622" y="2762878"/>
                      <a:pt x="57808" y="2240363"/>
                    </a:cubicBezTo>
                    <a:close/>
                  </a:path>
                </a:pathLst>
              </a:custGeom>
              <a:solidFill>
                <a:schemeClr val="accent1"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5A382689-215F-588A-347E-BEAF68109079}"/>
                  </a:ext>
                </a:extLst>
              </p:cNvPr>
              <p:cNvSpPr txBox="1"/>
              <p:nvPr/>
            </p:nvSpPr>
            <p:spPr>
              <a:xfrm>
                <a:off x="1884737" y="1587543"/>
                <a:ext cx="62709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1" i="1" u="none" strike="noStrike" kern="1200" cap="none" spc="0" normalizeH="0" baseline="0" noProof="0" dirty="0">
                    <a:ln>
                      <a:solidFill>
                        <a:prstClr val="white"/>
                      </a:solidFill>
                    </a:ln>
                    <a:solidFill>
                      <a:schemeClr val="accent1">
                        <a:lumMod val="75000"/>
                      </a:schemeClr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02</a:t>
                </a:r>
                <a:endParaRPr kumimoji="0" lang="zh-CN" altLang="en-US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32" name="矩形: 圆角 31">
              <a:extLst>
                <a:ext uri="{FF2B5EF4-FFF2-40B4-BE49-F238E27FC236}">
                  <a16:creationId xmlns:a16="http://schemas.microsoft.com/office/drawing/2014/main" id="{A606D979-3D3E-E318-E98C-A50BF1512979}"/>
                </a:ext>
              </a:extLst>
            </p:cNvPr>
            <p:cNvSpPr/>
            <p:nvPr/>
          </p:nvSpPr>
          <p:spPr>
            <a:xfrm>
              <a:off x="3160522" y="3464626"/>
              <a:ext cx="2051958" cy="49145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安全性</a:t>
              </a:r>
            </a:p>
          </p:txBody>
        </p:sp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49EAC617-EBAF-CD6E-39FD-E284B469DCE9}"/>
                </a:ext>
              </a:extLst>
            </p:cNvPr>
            <p:cNvGrpSpPr/>
            <p:nvPr/>
          </p:nvGrpSpPr>
          <p:grpSpPr>
            <a:xfrm>
              <a:off x="2265184" y="3448744"/>
              <a:ext cx="627095" cy="523220"/>
              <a:chOff x="1884737" y="1587543"/>
              <a:chExt cx="627095" cy="523220"/>
            </a:xfrm>
          </p:grpSpPr>
          <p:sp>
            <p:nvSpPr>
              <p:cNvPr id="34" name="等腰三角形 76">
                <a:extLst>
                  <a:ext uri="{FF2B5EF4-FFF2-40B4-BE49-F238E27FC236}">
                    <a16:creationId xmlns:a16="http://schemas.microsoft.com/office/drawing/2014/main" id="{D7E029EE-E991-028B-AB3A-9903746AF36B}"/>
                  </a:ext>
                </a:extLst>
              </p:cNvPr>
              <p:cNvSpPr/>
              <p:nvPr/>
            </p:nvSpPr>
            <p:spPr>
              <a:xfrm rot="6271357" flipV="1">
                <a:off x="2171456" y="1752148"/>
                <a:ext cx="321900" cy="287310"/>
              </a:xfrm>
              <a:custGeom>
                <a:avLst/>
                <a:gdLst>
                  <a:gd name="connsiteX0" fmla="*/ 0 w 2564441"/>
                  <a:gd name="connsiteY0" fmla="*/ 2210725 h 2210725"/>
                  <a:gd name="connsiteX1" fmla="*/ 1282221 w 2564441"/>
                  <a:gd name="connsiteY1" fmla="*/ 0 h 2210725"/>
                  <a:gd name="connsiteX2" fmla="*/ 2564441 w 2564441"/>
                  <a:gd name="connsiteY2" fmla="*/ 2210725 h 2210725"/>
                  <a:gd name="connsiteX3" fmla="*/ 0 w 2564441"/>
                  <a:gd name="connsiteY3" fmla="*/ 2210725 h 221072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517098"/>
                  <a:gd name="connsiteX1" fmla="*/ 1282221 w 2564441"/>
                  <a:gd name="connsiteY1" fmla="*/ 35440 h 2517098"/>
                  <a:gd name="connsiteX2" fmla="*/ 2564441 w 2564441"/>
                  <a:gd name="connsiteY2" fmla="*/ 2246165 h 2517098"/>
                  <a:gd name="connsiteX3" fmla="*/ 0 w 2564441"/>
                  <a:gd name="connsiteY3" fmla="*/ 2246165 h 2517098"/>
                  <a:gd name="connsiteX0" fmla="*/ 41119 w 2605560"/>
                  <a:gd name="connsiteY0" fmla="*/ 2246165 h 2517098"/>
                  <a:gd name="connsiteX1" fmla="*/ 1323340 w 2605560"/>
                  <a:gd name="connsiteY1" fmla="*/ 35440 h 2517098"/>
                  <a:gd name="connsiteX2" fmla="*/ 2605560 w 2605560"/>
                  <a:gd name="connsiteY2" fmla="*/ 2246165 h 2517098"/>
                  <a:gd name="connsiteX3" fmla="*/ 41119 w 2605560"/>
                  <a:gd name="connsiteY3" fmla="*/ 2246165 h 2517098"/>
                  <a:gd name="connsiteX0" fmla="*/ 41119 w 2698397"/>
                  <a:gd name="connsiteY0" fmla="*/ 2246165 h 2517098"/>
                  <a:gd name="connsiteX1" fmla="*/ 1323340 w 2698397"/>
                  <a:gd name="connsiteY1" fmla="*/ 35440 h 2517098"/>
                  <a:gd name="connsiteX2" fmla="*/ 2605560 w 2698397"/>
                  <a:gd name="connsiteY2" fmla="*/ 2246165 h 2517098"/>
                  <a:gd name="connsiteX3" fmla="*/ 41119 w 2698397"/>
                  <a:gd name="connsiteY3" fmla="*/ 2246165 h 2517098"/>
                  <a:gd name="connsiteX0" fmla="*/ 41119 w 2698397"/>
                  <a:gd name="connsiteY0" fmla="*/ 2246165 h 2687187"/>
                  <a:gd name="connsiteX1" fmla="*/ 1323340 w 2698397"/>
                  <a:gd name="connsiteY1" fmla="*/ 35440 h 2687187"/>
                  <a:gd name="connsiteX2" fmla="*/ 2605560 w 2698397"/>
                  <a:gd name="connsiteY2" fmla="*/ 2246165 h 2687187"/>
                  <a:gd name="connsiteX3" fmla="*/ 41119 w 2698397"/>
                  <a:gd name="connsiteY3" fmla="*/ 2246165 h 2687187"/>
                  <a:gd name="connsiteX0" fmla="*/ 0 w 2657278"/>
                  <a:gd name="connsiteY0" fmla="*/ 2246165 h 2687187"/>
                  <a:gd name="connsiteX1" fmla="*/ 1282221 w 2657278"/>
                  <a:gd name="connsiteY1" fmla="*/ 35440 h 2687187"/>
                  <a:gd name="connsiteX2" fmla="*/ 2564441 w 2657278"/>
                  <a:gd name="connsiteY2" fmla="*/ 2246165 h 2687187"/>
                  <a:gd name="connsiteX3" fmla="*/ 0 w 2657278"/>
                  <a:gd name="connsiteY3" fmla="*/ 2246165 h 2687187"/>
                  <a:gd name="connsiteX0" fmla="*/ 0 w 2657278"/>
                  <a:gd name="connsiteY0" fmla="*/ 2246165 h 2654542"/>
                  <a:gd name="connsiteX1" fmla="*/ 1282221 w 2657278"/>
                  <a:gd name="connsiteY1" fmla="*/ 35440 h 2654542"/>
                  <a:gd name="connsiteX2" fmla="*/ 2564441 w 2657278"/>
                  <a:gd name="connsiteY2" fmla="*/ 2246165 h 2654542"/>
                  <a:gd name="connsiteX3" fmla="*/ 0 w 2657278"/>
                  <a:gd name="connsiteY3" fmla="*/ 2246165 h 2654542"/>
                  <a:gd name="connsiteX0" fmla="*/ 57808 w 2715086"/>
                  <a:gd name="connsiteY0" fmla="*/ 2246165 h 2654542"/>
                  <a:gd name="connsiteX1" fmla="*/ 1340029 w 2715086"/>
                  <a:gd name="connsiteY1" fmla="*/ 35440 h 2654542"/>
                  <a:gd name="connsiteX2" fmla="*/ 2622249 w 2715086"/>
                  <a:gd name="connsiteY2" fmla="*/ 2246165 h 2654542"/>
                  <a:gd name="connsiteX3" fmla="*/ 57808 w 2715086"/>
                  <a:gd name="connsiteY3" fmla="*/ 2246165 h 2654542"/>
                  <a:gd name="connsiteX0" fmla="*/ 57808 w 2653271"/>
                  <a:gd name="connsiteY0" fmla="*/ 2240363 h 2648740"/>
                  <a:gd name="connsiteX1" fmla="*/ 1340029 w 2653271"/>
                  <a:gd name="connsiteY1" fmla="*/ 29638 h 2648740"/>
                  <a:gd name="connsiteX2" fmla="*/ 2622249 w 2653271"/>
                  <a:gd name="connsiteY2" fmla="*/ 2240363 h 2648740"/>
                  <a:gd name="connsiteX3" fmla="*/ 57808 w 2653271"/>
                  <a:gd name="connsiteY3" fmla="*/ 2240363 h 2648740"/>
                  <a:gd name="connsiteX0" fmla="*/ 57808 w 2653271"/>
                  <a:gd name="connsiteY0" fmla="*/ 2240363 h 2570137"/>
                  <a:gd name="connsiteX1" fmla="*/ 1340029 w 2653271"/>
                  <a:gd name="connsiteY1" fmla="*/ 29638 h 2570137"/>
                  <a:gd name="connsiteX2" fmla="*/ 2622249 w 2653271"/>
                  <a:gd name="connsiteY2" fmla="*/ 2240363 h 2570137"/>
                  <a:gd name="connsiteX3" fmla="*/ 57808 w 2653271"/>
                  <a:gd name="connsiteY3" fmla="*/ 2240363 h 257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3271" h="2570137">
                    <a:moveTo>
                      <a:pt x="57808" y="2240363"/>
                    </a:moveTo>
                    <a:cubicBezTo>
                      <a:pt x="-240499" y="1866312"/>
                      <a:pt x="680394" y="142432"/>
                      <a:pt x="1340029" y="29638"/>
                    </a:cubicBezTo>
                    <a:cubicBezTo>
                      <a:pt x="2043207" y="-278482"/>
                      <a:pt x="2818956" y="1909855"/>
                      <a:pt x="2622249" y="2240363"/>
                    </a:cubicBezTo>
                    <a:cubicBezTo>
                      <a:pt x="2362520" y="2588705"/>
                      <a:pt x="404622" y="2762878"/>
                      <a:pt x="57808" y="2240363"/>
                    </a:cubicBezTo>
                    <a:close/>
                  </a:path>
                </a:pathLst>
              </a:custGeom>
              <a:solidFill>
                <a:schemeClr val="accent1"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1829A506-154F-E0CA-AA9F-A34A9659B93D}"/>
                  </a:ext>
                </a:extLst>
              </p:cNvPr>
              <p:cNvSpPr txBox="1"/>
              <p:nvPr/>
            </p:nvSpPr>
            <p:spPr>
              <a:xfrm>
                <a:off x="1884737" y="1587543"/>
                <a:ext cx="62709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1" i="1" u="none" strike="noStrike" kern="1200" cap="none" spc="0" normalizeH="0" baseline="0" noProof="0" dirty="0">
                    <a:ln>
                      <a:solidFill>
                        <a:prstClr val="white"/>
                      </a:solidFill>
                    </a:ln>
                    <a:solidFill>
                      <a:schemeClr val="accent1">
                        <a:lumMod val="75000"/>
                      </a:schemeClr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03</a:t>
                </a:r>
                <a:endParaRPr kumimoji="0" lang="zh-CN" altLang="en-US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679C66C8-6D79-A78B-5D99-ECD7E289E2DB}"/>
                </a:ext>
              </a:extLst>
            </p:cNvPr>
            <p:cNvSpPr/>
            <p:nvPr/>
          </p:nvSpPr>
          <p:spPr>
            <a:xfrm>
              <a:off x="7786937" y="3464626"/>
              <a:ext cx="2051958" cy="49145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创新性</a:t>
              </a:r>
            </a:p>
          </p:txBody>
        </p:sp>
        <p:grpSp>
          <p:nvGrpSpPr>
            <p:cNvPr id="38" name="组合 37">
              <a:extLst>
                <a:ext uri="{FF2B5EF4-FFF2-40B4-BE49-F238E27FC236}">
                  <a16:creationId xmlns:a16="http://schemas.microsoft.com/office/drawing/2014/main" id="{5E8D812F-2DE8-BE5E-B65A-9C43FBC76C0D}"/>
                </a:ext>
              </a:extLst>
            </p:cNvPr>
            <p:cNvGrpSpPr/>
            <p:nvPr/>
          </p:nvGrpSpPr>
          <p:grpSpPr>
            <a:xfrm>
              <a:off x="6891599" y="3448744"/>
              <a:ext cx="627095" cy="523220"/>
              <a:chOff x="1884737" y="1587543"/>
              <a:chExt cx="627095" cy="523220"/>
            </a:xfrm>
          </p:grpSpPr>
          <p:sp>
            <p:nvSpPr>
              <p:cNvPr id="39" name="等腰三角形 76">
                <a:extLst>
                  <a:ext uri="{FF2B5EF4-FFF2-40B4-BE49-F238E27FC236}">
                    <a16:creationId xmlns:a16="http://schemas.microsoft.com/office/drawing/2014/main" id="{7526702F-C78A-AF81-9A9A-FA6B7D069F39}"/>
                  </a:ext>
                </a:extLst>
              </p:cNvPr>
              <p:cNvSpPr/>
              <p:nvPr/>
            </p:nvSpPr>
            <p:spPr>
              <a:xfrm rot="6271357" flipV="1">
                <a:off x="2171456" y="1752148"/>
                <a:ext cx="321900" cy="287310"/>
              </a:xfrm>
              <a:custGeom>
                <a:avLst/>
                <a:gdLst>
                  <a:gd name="connsiteX0" fmla="*/ 0 w 2564441"/>
                  <a:gd name="connsiteY0" fmla="*/ 2210725 h 2210725"/>
                  <a:gd name="connsiteX1" fmla="*/ 1282221 w 2564441"/>
                  <a:gd name="connsiteY1" fmla="*/ 0 h 2210725"/>
                  <a:gd name="connsiteX2" fmla="*/ 2564441 w 2564441"/>
                  <a:gd name="connsiteY2" fmla="*/ 2210725 h 2210725"/>
                  <a:gd name="connsiteX3" fmla="*/ 0 w 2564441"/>
                  <a:gd name="connsiteY3" fmla="*/ 2210725 h 221072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517098"/>
                  <a:gd name="connsiteX1" fmla="*/ 1282221 w 2564441"/>
                  <a:gd name="connsiteY1" fmla="*/ 35440 h 2517098"/>
                  <a:gd name="connsiteX2" fmla="*/ 2564441 w 2564441"/>
                  <a:gd name="connsiteY2" fmla="*/ 2246165 h 2517098"/>
                  <a:gd name="connsiteX3" fmla="*/ 0 w 2564441"/>
                  <a:gd name="connsiteY3" fmla="*/ 2246165 h 2517098"/>
                  <a:gd name="connsiteX0" fmla="*/ 41119 w 2605560"/>
                  <a:gd name="connsiteY0" fmla="*/ 2246165 h 2517098"/>
                  <a:gd name="connsiteX1" fmla="*/ 1323340 w 2605560"/>
                  <a:gd name="connsiteY1" fmla="*/ 35440 h 2517098"/>
                  <a:gd name="connsiteX2" fmla="*/ 2605560 w 2605560"/>
                  <a:gd name="connsiteY2" fmla="*/ 2246165 h 2517098"/>
                  <a:gd name="connsiteX3" fmla="*/ 41119 w 2605560"/>
                  <a:gd name="connsiteY3" fmla="*/ 2246165 h 2517098"/>
                  <a:gd name="connsiteX0" fmla="*/ 41119 w 2698397"/>
                  <a:gd name="connsiteY0" fmla="*/ 2246165 h 2517098"/>
                  <a:gd name="connsiteX1" fmla="*/ 1323340 w 2698397"/>
                  <a:gd name="connsiteY1" fmla="*/ 35440 h 2517098"/>
                  <a:gd name="connsiteX2" fmla="*/ 2605560 w 2698397"/>
                  <a:gd name="connsiteY2" fmla="*/ 2246165 h 2517098"/>
                  <a:gd name="connsiteX3" fmla="*/ 41119 w 2698397"/>
                  <a:gd name="connsiteY3" fmla="*/ 2246165 h 2517098"/>
                  <a:gd name="connsiteX0" fmla="*/ 41119 w 2698397"/>
                  <a:gd name="connsiteY0" fmla="*/ 2246165 h 2687187"/>
                  <a:gd name="connsiteX1" fmla="*/ 1323340 w 2698397"/>
                  <a:gd name="connsiteY1" fmla="*/ 35440 h 2687187"/>
                  <a:gd name="connsiteX2" fmla="*/ 2605560 w 2698397"/>
                  <a:gd name="connsiteY2" fmla="*/ 2246165 h 2687187"/>
                  <a:gd name="connsiteX3" fmla="*/ 41119 w 2698397"/>
                  <a:gd name="connsiteY3" fmla="*/ 2246165 h 2687187"/>
                  <a:gd name="connsiteX0" fmla="*/ 0 w 2657278"/>
                  <a:gd name="connsiteY0" fmla="*/ 2246165 h 2687187"/>
                  <a:gd name="connsiteX1" fmla="*/ 1282221 w 2657278"/>
                  <a:gd name="connsiteY1" fmla="*/ 35440 h 2687187"/>
                  <a:gd name="connsiteX2" fmla="*/ 2564441 w 2657278"/>
                  <a:gd name="connsiteY2" fmla="*/ 2246165 h 2687187"/>
                  <a:gd name="connsiteX3" fmla="*/ 0 w 2657278"/>
                  <a:gd name="connsiteY3" fmla="*/ 2246165 h 2687187"/>
                  <a:gd name="connsiteX0" fmla="*/ 0 w 2657278"/>
                  <a:gd name="connsiteY0" fmla="*/ 2246165 h 2654542"/>
                  <a:gd name="connsiteX1" fmla="*/ 1282221 w 2657278"/>
                  <a:gd name="connsiteY1" fmla="*/ 35440 h 2654542"/>
                  <a:gd name="connsiteX2" fmla="*/ 2564441 w 2657278"/>
                  <a:gd name="connsiteY2" fmla="*/ 2246165 h 2654542"/>
                  <a:gd name="connsiteX3" fmla="*/ 0 w 2657278"/>
                  <a:gd name="connsiteY3" fmla="*/ 2246165 h 2654542"/>
                  <a:gd name="connsiteX0" fmla="*/ 57808 w 2715086"/>
                  <a:gd name="connsiteY0" fmla="*/ 2246165 h 2654542"/>
                  <a:gd name="connsiteX1" fmla="*/ 1340029 w 2715086"/>
                  <a:gd name="connsiteY1" fmla="*/ 35440 h 2654542"/>
                  <a:gd name="connsiteX2" fmla="*/ 2622249 w 2715086"/>
                  <a:gd name="connsiteY2" fmla="*/ 2246165 h 2654542"/>
                  <a:gd name="connsiteX3" fmla="*/ 57808 w 2715086"/>
                  <a:gd name="connsiteY3" fmla="*/ 2246165 h 2654542"/>
                  <a:gd name="connsiteX0" fmla="*/ 57808 w 2653271"/>
                  <a:gd name="connsiteY0" fmla="*/ 2240363 h 2648740"/>
                  <a:gd name="connsiteX1" fmla="*/ 1340029 w 2653271"/>
                  <a:gd name="connsiteY1" fmla="*/ 29638 h 2648740"/>
                  <a:gd name="connsiteX2" fmla="*/ 2622249 w 2653271"/>
                  <a:gd name="connsiteY2" fmla="*/ 2240363 h 2648740"/>
                  <a:gd name="connsiteX3" fmla="*/ 57808 w 2653271"/>
                  <a:gd name="connsiteY3" fmla="*/ 2240363 h 2648740"/>
                  <a:gd name="connsiteX0" fmla="*/ 57808 w 2653271"/>
                  <a:gd name="connsiteY0" fmla="*/ 2240363 h 2570137"/>
                  <a:gd name="connsiteX1" fmla="*/ 1340029 w 2653271"/>
                  <a:gd name="connsiteY1" fmla="*/ 29638 h 2570137"/>
                  <a:gd name="connsiteX2" fmla="*/ 2622249 w 2653271"/>
                  <a:gd name="connsiteY2" fmla="*/ 2240363 h 2570137"/>
                  <a:gd name="connsiteX3" fmla="*/ 57808 w 2653271"/>
                  <a:gd name="connsiteY3" fmla="*/ 2240363 h 257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3271" h="2570137">
                    <a:moveTo>
                      <a:pt x="57808" y="2240363"/>
                    </a:moveTo>
                    <a:cubicBezTo>
                      <a:pt x="-240499" y="1866312"/>
                      <a:pt x="680394" y="142432"/>
                      <a:pt x="1340029" y="29638"/>
                    </a:cubicBezTo>
                    <a:cubicBezTo>
                      <a:pt x="2043207" y="-278482"/>
                      <a:pt x="2818956" y="1909855"/>
                      <a:pt x="2622249" y="2240363"/>
                    </a:cubicBezTo>
                    <a:cubicBezTo>
                      <a:pt x="2362520" y="2588705"/>
                      <a:pt x="404622" y="2762878"/>
                      <a:pt x="57808" y="2240363"/>
                    </a:cubicBezTo>
                    <a:close/>
                  </a:path>
                </a:pathLst>
              </a:custGeom>
              <a:solidFill>
                <a:schemeClr val="accent1"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FAF7F109-DAAD-57E3-2E02-02BE45EBB360}"/>
                  </a:ext>
                </a:extLst>
              </p:cNvPr>
              <p:cNvSpPr txBox="1"/>
              <p:nvPr/>
            </p:nvSpPr>
            <p:spPr>
              <a:xfrm>
                <a:off x="1884737" y="1587543"/>
                <a:ext cx="62709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1" i="1" u="none" strike="noStrike" kern="1200" cap="none" spc="0" normalizeH="0" baseline="0" noProof="0" dirty="0">
                    <a:ln>
                      <a:solidFill>
                        <a:prstClr val="white"/>
                      </a:solidFill>
                    </a:ln>
                    <a:solidFill>
                      <a:schemeClr val="accent1">
                        <a:lumMod val="75000"/>
                      </a:schemeClr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04</a:t>
                </a:r>
                <a:endParaRPr kumimoji="0" lang="zh-CN" altLang="en-US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sp>
          <p:nvSpPr>
            <p:cNvPr id="42" name="矩形: 圆角 41">
              <a:extLst>
                <a:ext uri="{FF2B5EF4-FFF2-40B4-BE49-F238E27FC236}">
                  <a16:creationId xmlns:a16="http://schemas.microsoft.com/office/drawing/2014/main" id="{3C34309A-D2B9-C1F6-5B4B-2D5EE1EB4C50}"/>
                </a:ext>
              </a:extLst>
            </p:cNvPr>
            <p:cNvSpPr/>
            <p:nvPr/>
          </p:nvSpPr>
          <p:spPr>
            <a:xfrm>
              <a:off x="3160522" y="4819452"/>
              <a:ext cx="2051958" cy="49145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平性</a:t>
              </a:r>
            </a:p>
          </p:txBody>
        </p:sp>
        <p:grpSp>
          <p:nvGrpSpPr>
            <p:cNvPr id="43" name="组合 42">
              <a:extLst>
                <a:ext uri="{FF2B5EF4-FFF2-40B4-BE49-F238E27FC236}">
                  <a16:creationId xmlns:a16="http://schemas.microsoft.com/office/drawing/2014/main" id="{C650D356-1C11-9B0F-8EFB-8C3CBDBF2D78}"/>
                </a:ext>
              </a:extLst>
            </p:cNvPr>
            <p:cNvGrpSpPr/>
            <p:nvPr/>
          </p:nvGrpSpPr>
          <p:grpSpPr>
            <a:xfrm>
              <a:off x="2265184" y="4803570"/>
              <a:ext cx="627095" cy="523220"/>
              <a:chOff x="1884737" y="1587543"/>
              <a:chExt cx="627095" cy="523220"/>
            </a:xfrm>
          </p:grpSpPr>
          <p:sp>
            <p:nvSpPr>
              <p:cNvPr id="44" name="等腰三角形 76">
                <a:extLst>
                  <a:ext uri="{FF2B5EF4-FFF2-40B4-BE49-F238E27FC236}">
                    <a16:creationId xmlns:a16="http://schemas.microsoft.com/office/drawing/2014/main" id="{8E5CE1D7-3D47-EE1A-002C-8E7A93A04661}"/>
                  </a:ext>
                </a:extLst>
              </p:cNvPr>
              <p:cNvSpPr/>
              <p:nvPr/>
            </p:nvSpPr>
            <p:spPr>
              <a:xfrm rot="6271357" flipV="1">
                <a:off x="2171456" y="1752148"/>
                <a:ext cx="321900" cy="287310"/>
              </a:xfrm>
              <a:custGeom>
                <a:avLst/>
                <a:gdLst>
                  <a:gd name="connsiteX0" fmla="*/ 0 w 2564441"/>
                  <a:gd name="connsiteY0" fmla="*/ 2210725 h 2210725"/>
                  <a:gd name="connsiteX1" fmla="*/ 1282221 w 2564441"/>
                  <a:gd name="connsiteY1" fmla="*/ 0 h 2210725"/>
                  <a:gd name="connsiteX2" fmla="*/ 2564441 w 2564441"/>
                  <a:gd name="connsiteY2" fmla="*/ 2210725 h 2210725"/>
                  <a:gd name="connsiteX3" fmla="*/ 0 w 2564441"/>
                  <a:gd name="connsiteY3" fmla="*/ 2210725 h 221072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246165"/>
                  <a:gd name="connsiteX1" fmla="*/ 1282221 w 2564441"/>
                  <a:gd name="connsiteY1" fmla="*/ 35440 h 2246165"/>
                  <a:gd name="connsiteX2" fmla="*/ 2564441 w 2564441"/>
                  <a:gd name="connsiteY2" fmla="*/ 2246165 h 2246165"/>
                  <a:gd name="connsiteX3" fmla="*/ 0 w 2564441"/>
                  <a:gd name="connsiteY3" fmla="*/ 2246165 h 2246165"/>
                  <a:gd name="connsiteX0" fmla="*/ 0 w 2564441"/>
                  <a:gd name="connsiteY0" fmla="*/ 2246165 h 2517098"/>
                  <a:gd name="connsiteX1" fmla="*/ 1282221 w 2564441"/>
                  <a:gd name="connsiteY1" fmla="*/ 35440 h 2517098"/>
                  <a:gd name="connsiteX2" fmla="*/ 2564441 w 2564441"/>
                  <a:gd name="connsiteY2" fmla="*/ 2246165 h 2517098"/>
                  <a:gd name="connsiteX3" fmla="*/ 0 w 2564441"/>
                  <a:gd name="connsiteY3" fmla="*/ 2246165 h 2517098"/>
                  <a:gd name="connsiteX0" fmla="*/ 41119 w 2605560"/>
                  <a:gd name="connsiteY0" fmla="*/ 2246165 h 2517098"/>
                  <a:gd name="connsiteX1" fmla="*/ 1323340 w 2605560"/>
                  <a:gd name="connsiteY1" fmla="*/ 35440 h 2517098"/>
                  <a:gd name="connsiteX2" fmla="*/ 2605560 w 2605560"/>
                  <a:gd name="connsiteY2" fmla="*/ 2246165 h 2517098"/>
                  <a:gd name="connsiteX3" fmla="*/ 41119 w 2605560"/>
                  <a:gd name="connsiteY3" fmla="*/ 2246165 h 2517098"/>
                  <a:gd name="connsiteX0" fmla="*/ 41119 w 2698397"/>
                  <a:gd name="connsiteY0" fmla="*/ 2246165 h 2517098"/>
                  <a:gd name="connsiteX1" fmla="*/ 1323340 w 2698397"/>
                  <a:gd name="connsiteY1" fmla="*/ 35440 h 2517098"/>
                  <a:gd name="connsiteX2" fmla="*/ 2605560 w 2698397"/>
                  <a:gd name="connsiteY2" fmla="*/ 2246165 h 2517098"/>
                  <a:gd name="connsiteX3" fmla="*/ 41119 w 2698397"/>
                  <a:gd name="connsiteY3" fmla="*/ 2246165 h 2517098"/>
                  <a:gd name="connsiteX0" fmla="*/ 41119 w 2698397"/>
                  <a:gd name="connsiteY0" fmla="*/ 2246165 h 2687187"/>
                  <a:gd name="connsiteX1" fmla="*/ 1323340 w 2698397"/>
                  <a:gd name="connsiteY1" fmla="*/ 35440 h 2687187"/>
                  <a:gd name="connsiteX2" fmla="*/ 2605560 w 2698397"/>
                  <a:gd name="connsiteY2" fmla="*/ 2246165 h 2687187"/>
                  <a:gd name="connsiteX3" fmla="*/ 41119 w 2698397"/>
                  <a:gd name="connsiteY3" fmla="*/ 2246165 h 2687187"/>
                  <a:gd name="connsiteX0" fmla="*/ 0 w 2657278"/>
                  <a:gd name="connsiteY0" fmla="*/ 2246165 h 2687187"/>
                  <a:gd name="connsiteX1" fmla="*/ 1282221 w 2657278"/>
                  <a:gd name="connsiteY1" fmla="*/ 35440 h 2687187"/>
                  <a:gd name="connsiteX2" fmla="*/ 2564441 w 2657278"/>
                  <a:gd name="connsiteY2" fmla="*/ 2246165 h 2687187"/>
                  <a:gd name="connsiteX3" fmla="*/ 0 w 2657278"/>
                  <a:gd name="connsiteY3" fmla="*/ 2246165 h 2687187"/>
                  <a:gd name="connsiteX0" fmla="*/ 0 w 2657278"/>
                  <a:gd name="connsiteY0" fmla="*/ 2246165 h 2654542"/>
                  <a:gd name="connsiteX1" fmla="*/ 1282221 w 2657278"/>
                  <a:gd name="connsiteY1" fmla="*/ 35440 h 2654542"/>
                  <a:gd name="connsiteX2" fmla="*/ 2564441 w 2657278"/>
                  <a:gd name="connsiteY2" fmla="*/ 2246165 h 2654542"/>
                  <a:gd name="connsiteX3" fmla="*/ 0 w 2657278"/>
                  <a:gd name="connsiteY3" fmla="*/ 2246165 h 2654542"/>
                  <a:gd name="connsiteX0" fmla="*/ 57808 w 2715086"/>
                  <a:gd name="connsiteY0" fmla="*/ 2246165 h 2654542"/>
                  <a:gd name="connsiteX1" fmla="*/ 1340029 w 2715086"/>
                  <a:gd name="connsiteY1" fmla="*/ 35440 h 2654542"/>
                  <a:gd name="connsiteX2" fmla="*/ 2622249 w 2715086"/>
                  <a:gd name="connsiteY2" fmla="*/ 2246165 h 2654542"/>
                  <a:gd name="connsiteX3" fmla="*/ 57808 w 2715086"/>
                  <a:gd name="connsiteY3" fmla="*/ 2246165 h 2654542"/>
                  <a:gd name="connsiteX0" fmla="*/ 57808 w 2653271"/>
                  <a:gd name="connsiteY0" fmla="*/ 2240363 h 2648740"/>
                  <a:gd name="connsiteX1" fmla="*/ 1340029 w 2653271"/>
                  <a:gd name="connsiteY1" fmla="*/ 29638 h 2648740"/>
                  <a:gd name="connsiteX2" fmla="*/ 2622249 w 2653271"/>
                  <a:gd name="connsiteY2" fmla="*/ 2240363 h 2648740"/>
                  <a:gd name="connsiteX3" fmla="*/ 57808 w 2653271"/>
                  <a:gd name="connsiteY3" fmla="*/ 2240363 h 2648740"/>
                  <a:gd name="connsiteX0" fmla="*/ 57808 w 2653271"/>
                  <a:gd name="connsiteY0" fmla="*/ 2240363 h 2570137"/>
                  <a:gd name="connsiteX1" fmla="*/ 1340029 w 2653271"/>
                  <a:gd name="connsiteY1" fmla="*/ 29638 h 2570137"/>
                  <a:gd name="connsiteX2" fmla="*/ 2622249 w 2653271"/>
                  <a:gd name="connsiteY2" fmla="*/ 2240363 h 2570137"/>
                  <a:gd name="connsiteX3" fmla="*/ 57808 w 2653271"/>
                  <a:gd name="connsiteY3" fmla="*/ 2240363 h 257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3271" h="2570137">
                    <a:moveTo>
                      <a:pt x="57808" y="2240363"/>
                    </a:moveTo>
                    <a:cubicBezTo>
                      <a:pt x="-240499" y="1866312"/>
                      <a:pt x="680394" y="142432"/>
                      <a:pt x="1340029" y="29638"/>
                    </a:cubicBezTo>
                    <a:cubicBezTo>
                      <a:pt x="2043207" y="-278482"/>
                      <a:pt x="2818956" y="1909855"/>
                      <a:pt x="2622249" y="2240363"/>
                    </a:cubicBezTo>
                    <a:cubicBezTo>
                      <a:pt x="2362520" y="2588705"/>
                      <a:pt x="404622" y="2762878"/>
                      <a:pt x="57808" y="2240363"/>
                    </a:cubicBezTo>
                    <a:close/>
                  </a:path>
                </a:pathLst>
              </a:custGeom>
              <a:solidFill>
                <a:schemeClr val="accent1">
                  <a:alpha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  <p:sp>
            <p:nvSpPr>
              <p:cNvPr id="45" name="文本框 44">
                <a:extLst>
                  <a:ext uri="{FF2B5EF4-FFF2-40B4-BE49-F238E27FC236}">
                    <a16:creationId xmlns:a16="http://schemas.microsoft.com/office/drawing/2014/main" id="{61B529DB-FFB3-84E2-95E4-8B77C44A7902}"/>
                  </a:ext>
                </a:extLst>
              </p:cNvPr>
              <p:cNvSpPr txBox="1"/>
              <p:nvPr/>
            </p:nvSpPr>
            <p:spPr>
              <a:xfrm>
                <a:off x="1884737" y="1587543"/>
                <a:ext cx="62709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800" b="1" i="1" u="none" strike="noStrike" kern="1200" cap="none" spc="0" normalizeH="0" baseline="0" noProof="0" dirty="0">
                    <a:ln>
                      <a:solidFill>
                        <a:prstClr val="white"/>
                      </a:solidFill>
                    </a:ln>
                    <a:solidFill>
                      <a:schemeClr val="accent1">
                        <a:lumMod val="75000"/>
                      </a:schemeClr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05</a:t>
                </a:r>
                <a:endParaRPr kumimoji="0" lang="zh-CN" altLang="en-US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</p:grpSp>
      <p:sp>
        <p:nvSpPr>
          <p:cNvPr id="6" name="标题 5">
            <a:extLst>
              <a:ext uri="{FF2B5EF4-FFF2-40B4-BE49-F238E27FC236}">
                <a16:creationId xmlns:a16="http://schemas.microsoft.com/office/drawing/2014/main" id="{73F4B3DE-0C4E-9419-23C3-A26CCE95F297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1018753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zh-CN" altLang="en-US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9820605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726BC-3BA7-416D-B55B-F8D617C6E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176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98" imgH="499" progId="TCLayout.ActiveDocument.1">
                  <p:embed/>
                </p:oleObj>
              </mc:Choice>
              <mc:Fallback>
                <p:oleObj name="think-cell 幻灯片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726BC-3BA7-416D-B55B-F8D617C6E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C69A0289-6C92-3ACD-BEA9-0634F55CB0E8}"/>
              </a:ext>
            </a:extLst>
          </p:cNvPr>
          <p:cNvSpPr/>
          <p:nvPr/>
        </p:nvSpPr>
        <p:spPr>
          <a:xfrm>
            <a:off x="524521" y="1876426"/>
            <a:ext cx="4866629" cy="418147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FB52C771-E895-1960-CAFF-6D89642C835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8" name="Rectangle 7">
            <a:extLst>
              <a:ext uri="{FF2B5EF4-FFF2-40B4-BE49-F238E27FC236}">
                <a16:creationId xmlns:a16="http://schemas.microsoft.com/office/drawing/2014/main" id="{02CCD983-0E34-44E4-A246-8975BE1CEB11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基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本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息</a:t>
            </a:r>
          </a:p>
        </p:txBody>
      </p:sp>
      <p:sp>
        <p:nvSpPr>
          <p:cNvPr id="48" name="标题 5">
            <a:extLst>
              <a:ext uri="{FF2B5EF4-FFF2-40B4-BE49-F238E27FC236}">
                <a16:creationId xmlns:a16="http://schemas.microsoft.com/office/drawing/2014/main" id="{6EE2FF5E-0202-CF4C-5F25-8AA661490115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1018753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zh-CN" altLang="en-US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莫博赛替尼是针对罕见靶点</a:t>
            </a:r>
            <a:r>
              <a:rPr lang="en-US" altLang="zh-CN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 20</a:t>
            </a:r>
            <a:r>
              <a:rPr lang="zh-CN" altLang="en-US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号外显子插入突变的创新药</a:t>
            </a:r>
          </a:p>
        </p:txBody>
      </p:sp>
      <p:sp>
        <p:nvSpPr>
          <p:cNvPr id="6" name="灯片编号占位符 2">
            <a:extLst>
              <a:ext uri="{FF2B5EF4-FFF2-40B4-BE49-F238E27FC236}">
                <a16:creationId xmlns:a16="http://schemas.microsoft.com/office/drawing/2014/main" id="{BD4650E0-1315-4F0F-13B0-85AC8ED6E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1554" y="6623410"/>
            <a:ext cx="252000" cy="196131"/>
          </a:xfrm>
        </p:spPr>
        <p:txBody>
          <a:bodyPr/>
          <a:lstStyle/>
          <a:p>
            <a:pPr algn="ctr"/>
            <a:fld id="{84174834-AE19-4E6F-B9DB-370160A47D1E}" type="slidenum">
              <a:rPr lang="zh-CN" altLang="en-US" smtClean="0"/>
              <a:pPr algn="ctr"/>
              <a:t>3</a:t>
            </a:fld>
            <a:endParaRPr lang="zh-CN" altLang="en-US" dirty="0"/>
          </a:p>
        </p:txBody>
      </p:sp>
      <p:graphicFrame>
        <p:nvGraphicFramePr>
          <p:cNvPr id="10" name="表格 4">
            <a:extLst>
              <a:ext uri="{FF2B5EF4-FFF2-40B4-BE49-F238E27FC236}">
                <a16:creationId xmlns:a16="http://schemas.microsoft.com/office/drawing/2014/main" id="{FFD8D6FD-DE53-AC67-E012-2B0A6C91F5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898092"/>
              </p:ext>
            </p:extLst>
          </p:nvPr>
        </p:nvGraphicFramePr>
        <p:xfrm>
          <a:off x="5637575" y="1876426"/>
          <a:ext cx="6048000" cy="418147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862097189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2917624535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2629749716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2523140843"/>
                    </a:ext>
                  </a:extLst>
                </a:gridCol>
              </a:tblGrid>
              <a:tr h="305749"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kumimoji="0" lang="zh-CN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通用名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琥珀酸莫博赛替尼胶囊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36126211"/>
                  </a:ext>
                </a:extLst>
              </a:tr>
              <a:tr h="1217580"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说明书适应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kumimoji="1"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含铂化疗期间或之后进展且携带表皮生长因子受体（</a:t>
                      </a:r>
                      <a:r>
                        <a:rPr kumimoji="1" lang="en-US" altLang="zh-CN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GFR</a:t>
                      </a:r>
                      <a:r>
                        <a:rPr kumimoji="1"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r>
                        <a:rPr kumimoji="1" lang="en-US" altLang="zh-CN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 </a:t>
                      </a:r>
                      <a:r>
                        <a:rPr kumimoji="1"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号外显子插入突变的局部晚期或转移性非小细胞肺癌（</a:t>
                      </a:r>
                      <a:r>
                        <a:rPr kumimoji="1" lang="en-US" altLang="zh-CN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NSCLC</a:t>
                      </a:r>
                      <a:r>
                        <a:rPr kumimoji="1" lang="zh-CN" altLang="en-US" sz="14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成人患者</a:t>
                      </a:r>
                      <a:endParaRPr kumimoji="1" lang="en-US" sz="1400" b="1" kern="1200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988220"/>
                  </a:ext>
                </a:extLst>
              </a:tr>
              <a:tr h="635619"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用法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推荐剂量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160mg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，口服，每日一次，直至疾病进展或出现无法耐受的不良反应</a:t>
                      </a: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7650476"/>
                  </a:ext>
                </a:extLst>
              </a:tr>
              <a:tr h="635619"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大陆地区同通用名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药品上市情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无</a:t>
                      </a: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核心专利权</a:t>
                      </a:r>
                      <a:endParaRPr kumimoji="0" lang="en-US" altLang="zh-CN" sz="1400" b="0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期限届满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kumimoji="0" lang="en-US" altLang="zh-CN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2035</a:t>
                      </a:r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年</a:t>
                      </a:r>
                      <a:r>
                        <a:rPr kumimoji="0" lang="en-US" altLang="zh-CN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5</a:t>
                      </a:r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月</a:t>
                      </a:r>
                    </a:p>
                  </a:txBody>
                  <a:tcPr marL="72000" marR="72000" marT="0" marB="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766505"/>
                  </a:ext>
                </a:extLst>
              </a:tr>
              <a:tr h="29688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剂型</a:t>
                      </a:r>
                      <a:endParaRPr lang="zh-CN" altLang="en-US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胶囊</a:t>
                      </a:r>
                    </a:p>
                  </a:txBody>
                  <a:tcPr marL="72000" marR="7200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注册规格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40mg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65443"/>
                  </a:ext>
                </a:extLst>
              </a:tr>
              <a:tr h="793140"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中国大陆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首次上市时间</a:t>
                      </a:r>
                      <a:endParaRPr kumimoji="0" lang="zh-CN" altLang="en-US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2023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年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日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600"/>
                        </a:lnSpc>
                        <a:spcBef>
                          <a:spcPts val="300"/>
                        </a:spcBef>
                      </a:pP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全球同步上市</a:t>
                      </a:r>
                      <a:endParaRPr lang="zh-CN" altLang="en-US" sz="14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全球首个上市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国家及时间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美国 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600"/>
                        </a:lnSpc>
                        <a:spcBef>
                          <a:spcPts val="300"/>
                        </a:spcBef>
                      </a:pP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2021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年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9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月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15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日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348426"/>
                  </a:ext>
                </a:extLst>
              </a:tr>
              <a:tr h="29688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是否为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OTC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药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否</a:t>
                      </a:r>
                    </a:p>
                  </a:txBody>
                  <a:tcPr marL="72000" marR="72000" marT="0" marB="0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300" dirty="0"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 sz="13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727657"/>
                  </a:ext>
                </a:extLst>
              </a:tr>
            </a:tbl>
          </a:graphicData>
        </a:graphic>
      </p:graphicFrame>
      <p:sp>
        <p:nvSpPr>
          <p:cNvPr id="30" name="文本框 29">
            <a:extLst>
              <a:ext uri="{FF2B5EF4-FFF2-40B4-BE49-F238E27FC236}">
                <a16:creationId xmlns:a16="http://schemas.microsoft.com/office/drawing/2014/main" id="{2191D77E-B465-2FC4-9122-828860D19EA1}"/>
              </a:ext>
            </a:extLst>
          </p:cNvPr>
          <p:cNvSpPr txBox="1"/>
          <p:nvPr/>
        </p:nvSpPr>
        <p:spPr>
          <a:xfrm>
            <a:off x="450852" y="6273372"/>
            <a:ext cx="112252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释：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指截至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EGFR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常见突变指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19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外显子和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外显子突变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缩写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CE -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国国家卫生与临床优化研究所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CO -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临床肿瘤学会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MC -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苏格兰医药协会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Fang W, et al. BMC Cancer. 2019 Jun 17;19(1)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95; 2. 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lobocan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020 China;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李雪等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卫生经济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1;40(3):84-88; 4.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研报告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; 5. C. Leduc, Annals of Oncology 28: 2715–2724, 2017</a:t>
            </a:r>
            <a:endParaRPr lang="zh-CN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1B26DED-6CE0-F5C7-0EE6-6F1E82B83DAC}"/>
              </a:ext>
            </a:extLst>
          </p:cNvPr>
          <p:cNvSpPr txBox="1"/>
          <p:nvPr/>
        </p:nvSpPr>
        <p:spPr>
          <a:xfrm>
            <a:off x="638119" y="2508816"/>
            <a:ext cx="4639432" cy="2949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lvl="1" indent="-180000">
              <a:lnSpc>
                <a:spcPts val="2800"/>
              </a:lnSpc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 20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号外显子</a:t>
            </a:r>
            <a:r>
              <a:rPr lang="zh-CN" altLang="en-US" sz="1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插入突变</a:t>
            </a:r>
            <a:r>
              <a:rPr lang="en-US" altLang="zh-CN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(ex20ins)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是</a:t>
            </a:r>
            <a:r>
              <a:rPr lang="en-US" altLang="zh-CN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突变的一个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亚型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，在我国占非小细胞肺癌</a:t>
            </a:r>
            <a:r>
              <a:rPr lang="en-US" altLang="zh-CN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(NSCLC)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患者仅约</a:t>
            </a:r>
            <a:r>
              <a:rPr lang="en-US" altLang="zh-CN" sz="1600" b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2%</a:t>
            </a:r>
            <a:r>
              <a:rPr lang="en-US" altLang="zh-CN" sz="1600" b="0" baseline="300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，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属于</a:t>
            </a:r>
            <a:r>
              <a:rPr lang="zh-CN" altLang="en-US" sz="1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罕见突变</a:t>
            </a:r>
            <a:endParaRPr lang="en-US" altLang="zh-CN" sz="1600" b="1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180000" lvl="1" indent="-180000">
              <a:lnSpc>
                <a:spcPts val="28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我国大陆地区每年新发含铂化疗期间或之后进展的</a:t>
            </a:r>
            <a:r>
              <a:rPr lang="en-US" altLang="zh-CN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 ex20ins NSCLC</a:t>
            </a:r>
            <a:r>
              <a:rPr lang="zh-CN" altLang="en-US" sz="1600" b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患者为</a:t>
            </a:r>
            <a:r>
              <a:rPr lang="en-US" altLang="zh-CN" sz="1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4000</a:t>
            </a:r>
            <a:r>
              <a:rPr lang="zh-CN" altLang="en-US" sz="16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人左右</a:t>
            </a:r>
            <a:r>
              <a:rPr lang="en-US" altLang="zh-CN" sz="1600" baseline="30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-4</a:t>
            </a:r>
          </a:p>
          <a:p>
            <a:pPr marL="180000" lvl="1" indent="-180000">
              <a:lnSpc>
                <a:spcPts val="28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 ex20ins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区别于</a:t>
            </a:r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常见突变*，恶性程度更高，预后更差</a:t>
            </a:r>
            <a:r>
              <a:rPr lang="en-US" altLang="zh-CN" sz="1600" baseline="300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endParaRPr lang="zh-CN" altLang="en-US" sz="1600" baseline="300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iconfont-10517-5127223">
            <a:extLst>
              <a:ext uri="{FF2B5EF4-FFF2-40B4-BE49-F238E27FC236}">
                <a16:creationId xmlns:a16="http://schemas.microsoft.com/office/drawing/2014/main" id="{58463C88-8806-D60D-F35C-EA5D1565CB14}"/>
              </a:ext>
            </a:extLst>
          </p:cNvPr>
          <p:cNvSpPr/>
          <p:nvPr/>
        </p:nvSpPr>
        <p:spPr>
          <a:xfrm rot="8100000">
            <a:off x="563159" y="1499324"/>
            <a:ext cx="319341" cy="138291"/>
          </a:xfrm>
          <a:custGeom>
            <a:avLst/>
            <a:gdLst>
              <a:gd name="T0" fmla="*/ 5436 w 6940"/>
              <a:gd name="T1" fmla="*/ 0 h 3010"/>
              <a:gd name="T2" fmla="*/ 1505 w 6940"/>
              <a:gd name="T3" fmla="*/ 0 h 3010"/>
              <a:gd name="T4" fmla="*/ 0 w 6940"/>
              <a:gd name="T5" fmla="*/ 1505 h 3010"/>
              <a:gd name="T6" fmla="*/ 1505 w 6940"/>
              <a:gd name="T7" fmla="*/ 3010 h 3010"/>
              <a:gd name="T8" fmla="*/ 5436 w 6940"/>
              <a:gd name="T9" fmla="*/ 3010 h 3010"/>
              <a:gd name="T10" fmla="*/ 6940 w 6940"/>
              <a:gd name="T11" fmla="*/ 1505 h 3010"/>
              <a:gd name="T12" fmla="*/ 5436 w 6940"/>
              <a:gd name="T13" fmla="*/ 0 h 3010"/>
              <a:gd name="T14" fmla="*/ 1903 w 6940"/>
              <a:gd name="T15" fmla="*/ 600 h 3010"/>
              <a:gd name="T16" fmla="*/ 783 w 6940"/>
              <a:gd name="T17" fmla="*/ 1163 h 3010"/>
              <a:gd name="T18" fmla="*/ 634 w 6940"/>
              <a:gd name="T19" fmla="*/ 1296 h 3010"/>
              <a:gd name="T20" fmla="*/ 619 w 6940"/>
              <a:gd name="T21" fmla="*/ 1295 h 3010"/>
              <a:gd name="T22" fmla="*/ 486 w 6940"/>
              <a:gd name="T23" fmla="*/ 1131 h 3010"/>
              <a:gd name="T24" fmla="*/ 1903 w 6940"/>
              <a:gd name="T25" fmla="*/ 301 h 3010"/>
              <a:gd name="T26" fmla="*/ 2052 w 6940"/>
              <a:gd name="T27" fmla="*/ 451 h 3010"/>
              <a:gd name="T28" fmla="*/ 1903 w 6940"/>
              <a:gd name="T29" fmla="*/ 600 h 3010"/>
              <a:gd name="T30" fmla="*/ 5436 w 6940"/>
              <a:gd name="T31" fmla="*/ 2637 h 3010"/>
              <a:gd name="T32" fmla="*/ 4167 w 6940"/>
              <a:gd name="T33" fmla="*/ 2637 h 3010"/>
              <a:gd name="T34" fmla="*/ 4167 w 6940"/>
              <a:gd name="T35" fmla="*/ 373 h 3010"/>
              <a:gd name="T36" fmla="*/ 5436 w 6940"/>
              <a:gd name="T37" fmla="*/ 373 h 3010"/>
              <a:gd name="T38" fmla="*/ 6567 w 6940"/>
              <a:gd name="T39" fmla="*/ 1505 h 3010"/>
              <a:gd name="T40" fmla="*/ 5436 w 6940"/>
              <a:gd name="T41" fmla="*/ 2637 h 3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940" h="3010">
                <a:moveTo>
                  <a:pt x="5436" y="0"/>
                </a:moveTo>
                <a:lnTo>
                  <a:pt x="1505" y="0"/>
                </a:lnTo>
                <a:cubicBezTo>
                  <a:pt x="675" y="0"/>
                  <a:pt x="0" y="675"/>
                  <a:pt x="0" y="1505"/>
                </a:cubicBezTo>
                <a:cubicBezTo>
                  <a:pt x="0" y="2335"/>
                  <a:pt x="675" y="3010"/>
                  <a:pt x="1505" y="3010"/>
                </a:cubicBezTo>
                <a:lnTo>
                  <a:pt x="5436" y="3010"/>
                </a:lnTo>
                <a:cubicBezTo>
                  <a:pt x="6265" y="3010"/>
                  <a:pt x="6940" y="2335"/>
                  <a:pt x="6940" y="1505"/>
                </a:cubicBezTo>
                <a:cubicBezTo>
                  <a:pt x="6940" y="675"/>
                  <a:pt x="6265" y="0"/>
                  <a:pt x="5436" y="0"/>
                </a:cubicBezTo>
                <a:close/>
                <a:moveTo>
                  <a:pt x="1903" y="600"/>
                </a:moveTo>
                <a:cubicBezTo>
                  <a:pt x="855" y="600"/>
                  <a:pt x="783" y="1157"/>
                  <a:pt x="783" y="1163"/>
                </a:cubicBezTo>
                <a:cubicBezTo>
                  <a:pt x="775" y="1240"/>
                  <a:pt x="710" y="1296"/>
                  <a:pt x="634" y="1296"/>
                </a:cubicBezTo>
                <a:cubicBezTo>
                  <a:pt x="629" y="1296"/>
                  <a:pt x="624" y="1296"/>
                  <a:pt x="619" y="1295"/>
                </a:cubicBezTo>
                <a:cubicBezTo>
                  <a:pt x="536" y="1287"/>
                  <a:pt x="477" y="1213"/>
                  <a:pt x="486" y="1131"/>
                </a:cubicBezTo>
                <a:cubicBezTo>
                  <a:pt x="490" y="1097"/>
                  <a:pt x="590" y="301"/>
                  <a:pt x="1903" y="301"/>
                </a:cubicBezTo>
                <a:cubicBezTo>
                  <a:pt x="1985" y="301"/>
                  <a:pt x="2052" y="368"/>
                  <a:pt x="2052" y="451"/>
                </a:cubicBezTo>
                <a:cubicBezTo>
                  <a:pt x="2052" y="533"/>
                  <a:pt x="1986" y="600"/>
                  <a:pt x="1903" y="600"/>
                </a:cubicBezTo>
                <a:close/>
                <a:moveTo>
                  <a:pt x="5436" y="2637"/>
                </a:moveTo>
                <a:lnTo>
                  <a:pt x="4167" y="2637"/>
                </a:lnTo>
                <a:lnTo>
                  <a:pt x="4167" y="373"/>
                </a:lnTo>
                <a:lnTo>
                  <a:pt x="5436" y="373"/>
                </a:lnTo>
                <a:cubicBezTo>
                  <a:pt x="6060" y="373"/>
                  <a:pt x="6567" y="881"/>
                  <a:pt x="6567" y="1505"/>
                </a:cubicBezTo>
                <a:cubicBezTo>
                  <a:pt x="6567" y="2129"/>
                  <a:pt x="6060" y="2637"/>
                  <a:pt x="5436" y="26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9" name="iconfont-10517-5127223">
            <a:extLst>
              <a:ext uri="{FF2B5EF4-FFF2-40B4-BE49-F238E27FC236}">
                <a16:creationId xmlns:a16="http://schemas.microsoft.com/office/drawing/2014/main" id="{31D632C8-0605-6615-66C4-F10C6FC04A56}"/>
              </a:ext>
            </a:extLst>
          </p:cNvPr>
          <p:cNvSpPr/>
          <p:nvPr/>
        </p:nvSpPr>
        <p:spPr>
          <a:xfrm rot="8100000">
            <a:off x="563159" y="1499324"/>
            <a:ext cx="319341" cy="138291"/>
          </a:xfrm>
          <a:custGeom>
            <a:avLst/>
            <a:gdLst>
              <a:gd name="T0" fmla="*/ 5436 w 6940"/>
              <a:gd name="T1" fmla="*/ 0 h 3010"/>
              <a:gd name="T2" fmla="*/ 1505 w 6940"/>
              <a:gd name="T3" fmla="*/ 0 h 3010"/>
              <a:gd name="T4" fmla="*/ 0 w 6940"/>
              <a:gd name="T5" fmla="*/ 1505 h 3010"/>
              <a:gd name="T6" fmla="*/ 1505 w 6940"/>
              <a:gd name="T7" fmla="*/ 3010 h 3010"/>
              <a:gd name="T8" fmla="*/ 5436 w 6940"/>
              <a:gd name="T9" fmla="*/ 3010 h 3010"/>
              <a:gd name="T10" fmla="*/ 6940 w 6940"/>
              <a:gd name="T11" fmla="*/ 1505 h 3010"/>
              <a:gd name="T12" fmla="*/ 5436 w 6940"/>
              <a:gd name="T13" fmla="*/ 0 h 3010"/>
              <a:gd name="T14" fmla="*/ 1903 w 6940"/>
              <a:gd name="T15" fmla="*/ 600 h 3010"/>
              <a:gd name="T16" fmla="*/ 783 w 6940"/>
              <a:gd name="T17" fmla="*/ 1163 h 3010"/>
              <a:gd name="T18" fmla="*/ 634 w 6940"/>
              <a:gd name="T19" fmla="*/ 1296 h 3010"/>
              <a:gd name="T20" fmla="*/ 619 w 6940"/>
              <a:gd name="T21" fmla="*/ 1295 h 3010"/>
              <a:gd name="T22" fmla="*/ 486 w 6940"/>
              <a:gd name="T23" fmla="*/ 1131 h 3010"/>
              <a:gd name="T24" fmla="*/ 1903 w 6940"/>
              <a:gd name="T25" fmla="*/ 301 h 3010"/>
              <a:gd name="T26" fmla="*/ 2052 w 6940"/>
              <a:gd name="T27" fmla="*/ 451 h 3010"/>
              <a:gd name="T28" fmla="*/ 1903 w 6940"/>
              <a:gd name="T29" fmla="*/ 600 h 3010"/>
              <a:gd name="T30" fmla="*/ 5436 w 6940"/>
              <a:gd name="T31" fmla="*/ 2637 h 3010"/>
              <a:gd name="T32" fmla="*/ 4167 w 6940"/>
              <a:gd name="T33" fmla="*/ 2637 h 3010"/>
              <a:gd name="T34" fmla="*/ 4167 w 6940"/>
              <a:gd name="T35" fmla="*/ 373 h 3010"/>
              <a:gd name="T36" fmla="*/ 5436 w 6940"/>
              <a:gd name="T37" fmla="*/ 373 h 3010"/>
              <a:gd name="T38" fmla="*/ 6567 w 6940"/>
              <a:gd name="T39" fmla="*/ 1505 h 3010"/>
              <a:gd name="T40" fmla="*/ 5436 w 6940"/>
              <a:gd name="T41" fmla="*/ 2637 h 3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940" h="3010">
                <a:moveTo>
                  <a:pt x="5436" y="0"/>
                </a:moveTo>
                <a:lnTo>
                  <a:pt x="1505" y="0"/>
                </a:lnTo>
                <a:cubicBezTo>
                  <a:pt x="675" y="0"/>
                  <a:pt x="0" y="675"/>
                  <a:pt x="0" y="1505"/>
                </a:cubicBezTo>
                <a:cubicBezTo>
                  <a:pt x="0" y="2335"/>
                  <a:pt x="675" y="3010"/>
                  <a:pt x="1505" y="3010"/>
                </a:cubicBezTo>
                <a:lnTo>
                  <a:pt x="5436" y="3010"/>
                </a:lnTo>
                <a:cubicBezTo>
                  <a:pt x="6265" y="3010"/>
                  <a:pt x="6940" y="2335"/>
                  <a:pt x="6940" y="1505"/>
                </a:cubicBezTo>
                <a:cubicBezTo>
                  <a:pt x="6940" y="675"/>
                  <a:pt x="6265" y="0"/>
                  <a:pt x="5436" y="0"/>
                </a:cubicBezTo>
                <a:close/>
                <a:moveTo>
                  <a:pt x="1903" y="600"/>
                </a:moveTo>
                <a:cubicBezTo>
                  <a:pt x="855" y="600"/>
                  <a:pt x="783" y="1157"/>
                  <a:pt x="783" y="1163"/>
                </a:cubicBezTo>
                <a:cubicBezTo>
                  <a:pt x="775" y="1240"/>
                  <a:pt x="710" y="1296"/>
                  <a:pt x="634" y="1296"/>
                </a:cubicBezTo>
                <a:cubicBezTo>
                  <a:pt x="629" y="1296"/>
                  <a:pt x="624" y="1296"/>
                  <a:pt x="619" y="1295"/>
                </a:cubicBezTo>
                <a:cubicBezTo>
                  <a:pt x="536" y="1287"/>
                  <a:pt x="477" y="1213"/>
                  <a:pt x="486" y="1131"/>
                </a:cubicBezTo>
                <a:cubicBezTo>
                  <a:pt x="490" y="1097"/>
                  <a:pt x="590" y="301"/>
                  <a:pt x="1903" y="301"/>
                </a:cubicBezTo>
                <a:cubicBezTo>
                  <a:pt x="1985" y="301"/>
                  <a:pt x="2052" y="368"/>
                  <a:pt x="2052" y="451"/>
                </a:cubicBezTo>
                <a:cubicBezTo>
                  <a:pt x="2052" y="533"/>
                  <a:pt x="1986" y="600"/>
                  <a:pt x="1903" y="600"/>
                </a:cubicBezTo>
                <a:close/>
                <a:moveTo>
                  <a:pt x="5436" y="2637"/>
                </a:moveTo>
                <a:lnTo>
                  <a:pt x="4167" y="2637"/>
                </a:lnTo>
                <a:lnTo>
                  <a:pt x="4167" y="373"/>
                </a:lnTo>
                <a:lnTo>
                  <a:pt x="5436" y="373"/>
                </a:lnTo>
                <a:cubicBezTo>
                  <a:pt x="6060" y="373"/>
                  <a:pt x="6567" y="881"/>
                  <a:pt x="6567" y="1505"/>
                </a:cubicBezTo>
                <a:cubicBezTo>
                  <a:pt x="6567" y="2129"/>
                  <a:pt x="6060" y="2637"/>
                  <a:pt x="5436" y="26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21" name="Graphic 7">
            <a:extLst>
              <a:ext uri="{FF2B5EF4-FFF2-40B4-BE49-F238E27FC236}">
                <a16:creationId xmlns:a16="http://schemas.microsoft.com/office/drawing/2014/main" id="{B5469E80-3EC1-5539-FE44-BAD2E23F4A8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1032" y="1401878"/>
            <a:ext cx="323594" cy="333183"/>
          </a:xfrm>
          <a:prstGeom prst="rect">
            <a:avLst/>
          </a:prstGeom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6496BA78-4375-B7E8-BB21-9A467405A3E9}"/>
              </a:ext>
            </a:extLst>
          </p:cNvPr>
          <p:cNvSpPr txBox="1"/>
          <p:nvPr/>
        </p:nvSpPr>
        <p:spPr>
          <a:xfrm>
            <a:off x="913099" y="1399192"/>
            <a:ext cx="17722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基本情况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3ABB9FB-EB99-7ED3-4A48-202D161E5B7C}"/>
              </a:ext>
            </a:extLst>
          </p:cNvPr>
          <p:cNvSpPr txBox="1"/>
          <p:nvPr/>
        </p:nvSpPr>
        <p:spPr>
          <a:xfrm>
            <a:off x="5999938" y="1399192"/>
            <a:ext cx="17722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基本信息</a:t>
            </a:r>
          </a:p>
        </p:txBody>
      </p:sp>
      <p:sp>
        <p:nvSpPr>
          <p:cNvPr id="24" name="medicine-pill_65587">
            <a:extLst>
              <a:ext uri="{FF2B5EF4-FFF2-40B4-BE49-F238E27FC236}">
                <a16:creationId xmlns:a16="http://schemas.microsoft.com/office/drawing/2014/main" id="{18761B30-E819-BEA3-55A1-FC679D6A93CB}"/>
              </a:ext>
            </a:extLst>
          </p:cNvPr>
          <p:cNvSpPr/>
          <p:nvPr/>
        </p:nvSpPr>
        <p:spPr>
          <a:xfrm>
            <a:off x="5678085" y="1440739"/>
            <a:ext cx="263167" cy="255460"/>
          </a:xfrm>
          <a:custGeom>
            <a:avLst/>
            <a:gdLst>
              <a:gd name="T0" fmla="*/ 5024 w 5486"/>
              <a:gd name="T1" fmla="*/ 463 h 5333"/>
              <a:gd name="T2" fmla="*/ 3907 w 5486"/>
              <a:gd name="T3" fmla="*/ 0 h 5333"/>
              <a:gd name="T4" fmla="*/ 2790 w 5486"/>
              <a:gd name="T5" fmla="*/ 463 h 5333"/>
              <a:gd name="T6" fmla="*/ 616 w 5486"/>
              <a:gd name="T7" fmla="*/ 2636 h 5333"/>
              <a:gd name="T8" fmla="*/ 616 w 5486"/>
              <a:gd name="T9" fmla="*/ 4870 h 5333"/>
              <a:gd name="T10" fmla="*/ 1733 w 5486"/>
              <a:gd name="T11" fmla="*/ 5333 h 5333"/>
              <a:gd name="T12" fmla="*/ 2850 w 5486"/>
              <a:gd name="T13" fmla="*/ 4870 h 5333"/>
              <a:gd name="T14" fmla="*/ 5024 w 5486"/>
              <a:gd name="T15" fmla="*/ 2696 h 5333"/>
              <a:gd name="T16" fmla="*/ 5486 w 5486"/>
              <a:gd name="T17" fmla="*/ 1579 h 5333"/>
              <a:gd name="T18" fmla="*/ 5024 w 5486"/>
              <a:gd name="T19" fmla="*/ 463 h 5333"/>
              <a:gd name="T20" fmla="*/ 2702 w 5486"/>
              <a:gd name="T21" fmla="*/ 4723 h 5333"/>
              <a:gd name="T22" fmla="*/ 1733 w 5486"/>
              <a:gd name="T23" fmla="*/ 5124 h 5333"/>
              <a:gd name="T24" fmla="*/ 764 w 5486"/>
              <a:gd name="T25" fmla="*/ 4723 h 5333"/>
              <a:gd name="T26" fmla="*/ 764 w 5486"/>
              <a:gd name="T27" fmla="*/ 2784 h 5333"/>
              <a:gd name="T28" fmla="*/ 1851 w 5486"/>
              <a:gd name="T29" fmla="*/ 1697 h 5333"/>
              <a:gd name="T30" fmla="*/ 3000 w 5486"/>
              <a:gd name="T31" fmla="*/ 560 h 5333"/>
              <a:gd name="T32" fmla="*/ 3052 w 5486"/>
              <a:gd name="T33" fmla="*/ 524 h 5333"/>
              <a:gd name="T34" fmla="*/ 3269 w 5486"/>
              <a:gd name="T35" fmla="*/ 399 h 5333"/>
              <a:gd name="T36" fmla="*/ 3726 w 5486"/>
              <a:gd name="T37" fmla="*/ 278 h 5333"/>
              <a:gd name="T38" fmla="*/ 3945 w 5486"/>
              <a:gd name="T39" fmla="*/ 282 h 5333"/>
              <a:gd name="T40" fmla="*/ 3997 w 5486"/>
              <a:gd name="T41" fmla="*/ 289 h 5333"/>
              <a:gd name="T42" fmla="*/ 4047 w 5486"/>
              <a:gd name="T43" fmla="*/ 298 h 5333"/>
              <a:gd name="T44" fmla="*/ 4096 w 5486"/>
              <a:gd name="T45" fmla="*/ 309 h 5333"/>
              <a:gd name="T46" fmla="*/ 4144 w 5486"/>
              <a:gd name="T47" fmla="*/ 321 h 5333"/>
              <a:gd name="T48" fmla="*/ 4190 w 5486"/>
              <a:gd name="T49" fmla="*/ 335 h 5333"/>
              <a:gd name="T50" fmla="*/ 4234 w 5486"/>
              <a:gd name="T51" fmla="*/ 351 h 5333"/>
              <a:gd name="T52" fmla="*/ 4318 w 5486"/>
              <a:gd name="T53" fmla="*/ 384 h 5333"/>
              <a:gd name="T54" fmla="*/ 4357 w 5486"/>
              <a:gd name="T55" fmla="*/ 403 h 5333"/>
              <a:gd name="T56" fmla="*/ 4394 w 5486"/>
              <a:gd name="T57" fmla="*/ 422 h 5333"/>
              <a:gd name="T58" fmla="*/ 4430 w 5486"/>
              <a:gd name="T59" fmla="*/ 442 h 5333"/>
              <a:gd name="T60" fmla="*/ 4447 w 5486"/>
              <a:gd name="T61" fmla="*/ 451 h 5333"/>
              <a:gd name="T62" fmla="*/ 4463 w 5486"/>
              <a:gd name="T63" fmla="*/ 462 h 5333"/>
              <a:gd name="T64" fmla="*/ 4678 w 5486"/>
              <a:gd name="T65" fmla="*/ 616 h 5333"/>
              <a:gd name="T66" fmla="*/ 4812 w 5486"/>
              <a:gd name="T67" fmla="*/ 738 h 5333"/>
              <a:gd name="T68" fmla="*/ 4840 w 5486"/>
              <a:gd name="T69" fmla="*/ 786 h 5333"/>
              <a:gd name="T70" fmla="*/ 4781 w 5486"/>
              <a:gd name="T71" fmla="*/ 752 h 5333"/>
              <a:gd name="T72" fmla="*/ 4647 w 5486"/>
              <a:gd name="T73" fmla="*/ 657 h 5333"/>
              <a:gd name="T74" fmla="*/ 4423 w 5486"/>
              <a:gd name="T75" fmla="*/ 539 h 5333"/>
              <a:gd name="T76" fmla="*/ 4115 w 5486"/>
              <a:gd name="T77" fmla="*/ 449 h 5333"/>
              <a:gd name="T78" fmla="*/ 3935 w 5486"/>
              <a:gd name="T79" fmla="*/ 433 h 5333"/>
              <a:gd name="T80" fmla="*/ 3745 w 5486"/>
              <a:gd name="T81" fmla="*/ 447 h 5333"/>
              <a:gd name="T82" fmla="*/ 3358 w 5486"/>
              <a:gd name="T83" fmla="*/ 578 h 5333"/>
              <a:gd name="T84" fmla="*/ 3174 w 5486"/>
              <a:gd name="T85" fmla="*/ 695 h 5333"/>
              <a:gd name="T86" fmla="*/ 2026 w 5486"/>
              <a:gd name="T87" fmla="*/ 1808 h 5333"/>
              <a:gd name="T88" fmla="*/ 2031 w 5486"/>
              <a:gd name="T89" fmla="*/ 1879 h 5333"/>
              <a:gd name="T90" fmla="*/ 3761 w 5486"/>
              <a:gd name="T91" fmla="*/ 3607 h 5333"/>
              <a:gd name="T92" fmla="*/ 3764 w 5486"/>
              <a:gd name="T93" fmla="*/ 3661 h 5333"/>
              <a:gd name="T94" fmla="*/ 2702 w 5486"/>
              <a:gd name="T95" fmla="*/ 4723 h 5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486" h="5333">
                <a:moveTo>
                  <a:pt x="5024" y="463"/>
                </a:moveTo>
                <a:cubicBezTo>
                  <a:pt x="4725" y="164"/>
                  <a:pt x="4329" y="0"/>
                  <a:pt x="3907" y="0"/>
                </a:cubicBezTo>
                <a:cubicBezTo>
                  <a:pt x="3485" y="0"/>
                  <a:pt x="3088" y="164"/>
                  <a:pt x="2790" y="463"/>
                </a:cubicBezTo>
                <a:lnTo>
                  <a:pt x="616" y="2636"/>
                </a:lnTo>
                <a:cubicBezTo>
                  <a:pt x="0" y="3252"/>
                  <a:pt x="0" y="4254"/>
                  <a:pt x="616" y="4870"/>
                </a:cubicBezTo>
                <a:cubicBezTo>
                  <a:pt x="915" y="5168"/>
                  <a:pt x="1311" y="5333"/>
                  <a:pt x="1733" y="5333"/>
                </a:cubicBezTo>
                <a:cubicBezTo>
                  <a:pt x="2155" y="5333"/>
                  <a:pt x="2551" y="5168"/>
                  <a:pt x="2850" y="4870"/>
                </a:cubicBezTo>
                <a:lnTo>
                  <a:pt x="5024" y="2696"/>
                </a:lnTo>
                <a:cubicBezTo>
                  <a:pt x="5322" y="2398"/>
                  <a:pt x="5486" y="2001"/>
                  <a:pt x="5486" y="1579"/>
                </a:cubicBezTo>
                <a:cubicBezTo>
                  <a:pt x="5486" y="1157"/>
                  <a:pt x="5322" y="761"/>
                  <a:pt x="5024" y="463"/>
                </a:cubicBezTo>
                <a:moveTo>
                  <a:pt x="2702" y="4723"/>
                </a:moveTo>
                <a:cubicBezTo>
                  <a:pt x="2443" y="4982"/>
                  <a:pt x="2099" y="5124"/>
                  <a:pt x="1733" y="5124"/>
                </a:cubicBezTo>
                <a:cubicBezTo>
                  <a:pt x="1367" y="5124"/>
                  <a:pt x="1023" y="4982"/>
                  <a:pt x="764" y="4723"/>
                </a:cubicBezTo>
                <a:cubicBezTo>
                  <a:pt x="229" y="4188"/>
                  <a:pt x="229" y="3318"/>
                  <a:pt x="764" y="2784"/>
                </a:cubicBezTo>
                <a:lnTo>
                  <a:pt x="1851" y="1697"/>
                </a:lnTo>
                <a:cubicBezTo>
                  <a:pt x="1851" y="1697"/>
                  <a:pt x="2983" y="573"/>
                  <a:pt x="3000" y="560"/>
                </a:cubicBezTo>
                <a:cubicBezTo>
                  <a:pt x="3017" y="548"/>
                  <a:pt x="3035" y="536"/>
                  <a:pt x="3052" y="524"/>
                </a:cubicBezTo>
                <a:cubicBezTo>
                  <a:pt x="3121" y="476"/>
                  <a:pt x="3194" y="434"/>
                  <a:pt x="3269" y="399"/>
                </a:cubicBezTo>
                <a:cubicBezTo>
                  <a:pt x="3418" y="329"/>
                  <a:pt x="3576" y="290"/>
                  <a:pt x="3726" y="278"/>
                </a:cubicBezTo>
                <a:cubicBezTo>
                  <a:pt x="3801" y="274"/>
                  <a:pt x="3875" y="275"/>
                  <a:pt x="3945" y="282"/>
                </a:cubicBezTo>
                <a:cubicBezTo>
                  <a:pt x="3962" y="285"/>
                  <a:pt x="3979" y="287"/>
                  <a:pt x="3997" y="289"/>
                </a:cubicBezTo>
                <a:cubicBezTo>
                  <a:pt x="4014" y="292"/>
                  <a:pt x="4031" y="295"/>
                  <a:pt x="4047" y="298"/>
                </a:cubicBezTo>
                <a:cubicBezTo>
                  <a:pt x="4064" y="301"/>
                  <a:pt x="4080" y="305"/>
                  <a:pt x="4096" y="309"/>
                </a:cubicBezTo>
                <a:cubicBezTo>
                  <a:pt x="4112" y="313"/>
                  <a:pt x="4128" y="316"/>
                  <a:pt x="4144" y="321"/>
                </a:cubicBezTo>
                <a:cubicBezTo>
                  <a:pt x="4159" y="326"/>
                  <a:pt x="4175" y="330"/>
                  <a:pt x="4190" y="335"/>
                </a:cubicBezTo>
                <a:cubicBezTo>
                  <a:pt x="4205" y="340"/>
                  <a:pt x="4219" y="345"/>
                  <a:pt x="4234" y="351"/>
                </a:cubicBezTo>
                <a:cubicBezTo>
                  <a:pt x="4263" y="360"/>
                  <a:pt x="4291" y="373"/>
                  <a:pt x="4318" y="384"/>
                </a:cubicBezTo>
                <a:cubicBezTo>
                  <a:pt x="4331" y="390"/>
                  <a:pt x="4344" y="397"/>
                  <a:pt x="4357" y="403"/>
                </a:cubicBezTo>
                <a:cubicBezTo>
                  <a:pt x="4369" y="409"/>
                  <a:pt x="4382" y="415"/>
                  <a:pt x="4394" y="422"/>
                </a:cubicBezTo>
                <a:cubicBezTo>
                  <a:pt x="4406" y="428"/>
                  <a:pt x="4418" y="435"/>
                  <a:pt x="4430" y="442"/>
                </a:cubicBezTo>
                <a:cubicBezTo>
                  <a:pt x="4435" y="445"/>
                  <a:pt x="4441" y="448"/>
                  <a:pt x="4447" y="451"/>
                </a:cubicBezTo>
                <a:cubicBezTo>
                  <a:pt x="4452" y="455"/>
                  <a:pt x="4458" y="458"/>
                  <a:pt x="4463" y="462"/>
                </a:cubicBezTo>
                <a:cubicBezTo>
                  <a:pt x="4551" y="516"/>
                  <a:pt x="4622" y="570"/>
                  <a:pt x="4678" y="616"/>
                </a:cubicBezTo>
                <a:cubicBezTo>
                  <a:pt x="4751" y="676"/>
                  <a:pt x="4786" y="709"/>
                  <a:pt x="4812" y="738"/>
                </a:cubicBezTo>
                <a:cubicBezTo>
                  <a:pt x="4824" y="753"/>
                  <a:pt x="4846" y="779"/>
                  <a:pt x="4840" y="786"/>
                </a:cubicBezTo>
                <a:cubicBezTo>
                  <a:pt x="4834" y="792"/>
                  <a:pt x="4811" y="776"/>
                  <a:pt x="4781" y="752"/>
                </a:cubicBezTo>
                <a:cubicBezTo>
                  <a:pt x="4750" y="728"/>
                  <a:pt x="4707" y="695"/>
                  <a:pt x="4647" y="657"/>
                </a:cubicBezTo>
                <a:cubicBezTo>
                  <a:pt x="4587" y="619"/>
                  <a:pt x="4513" y="577"/>
                  <a:pt x="4423" y="539"/>
                </a:cubicBezTo>
                <a:cubicBezTo>
                  <a:pt x="4334" y="500"/>
                  <a:pt x="4230" y="467"/>
                  <a:pt x="4115" y="449"/>
                </a:cubicBezTo>
                <a:cubicBezTo>
                  <a:pt x="4058" y="440"/>
                  <a:pt x="3998" y="433"/>
                  <a:pt x="3935" y="433"/>
                </a:cubicBezTo>
                <a:cubicBezTo>
                  <a:pt x="3873" y="433"/>
                  <a:pt x="3809" y="437"/>
                  <a:pt x="3745" y="447"/>
                </a:cubicBezTo>
                <a:cubicBezTo>
                  <a:pt x="3615" y="468"/>
                  <a:pt x="3483" y="511"/>
                  <a:pt x="3358" y="578"/>
                </a:cubicBezTo>
                <a:cubicBezTo>
                  <a:pt x="3295" y="612"/>
                  <a:pt x="3233" y="651"/>
                  <a:pt x="3174" y="695"/>
                </a:cubicBezTo>
                <a:cubicBezTo>
                  <a:pt x="3160" y="706"/>
                  <a:pt x="2084" y="1749"/>
                  <a:pt x="2026" y="1808"/>
                </a:cubicBezTo>
                <a:cubicBezTo>
                  <a:pt x="2005" y="1830"/>
                  <a:pt x="2006" y="1854"/>
                  <a:pt x="2031" y="1879"/>
                </a:cubicBezTo>
                <a:cubicBezTo>
                  <a:pt x="2436" y="2284"/>
                  <a:pt x="3567" y="3413"/>
                  <a:pt x="3761" y="3607"/>
                </a:cubicBezTo>
                <a:cubicBezTo>
                  <a:pt x="3779" y="3626"/>
                  <a:pt x="3784" y="3641"/>
                  <a:pt x="3764" y="3661"/>
                </a:cubicBezTo>
                <a:cubicBezTo>
                  <a:pt x="3425" y="4002"/>
                  <a:pt x="2702" y="4723"/>
                  <a:pt x="2702" y="472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7796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726BC-3BA7-416D-B55B-F8D617C6E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98" imgH="499" progId="TCLayout.ActiveDocument.1">
                  <p:embed/>
                </p:oleObj>
              </mc:Choice>
              <mc:Fallback>
                <p:oleObj name="think-cell 幻灯片" r:id="rId5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726BC-3BA7-416D-B55B-F8D617C6E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矩形 12">
            <a:extLst>
              <a:ext uri="{FF2B5EF4-FFF2-40B4-BE49-F238E27FC236}">
                <a16:creationId xmlns:a16="http://schemas.microsoft.com/office/drawing/2014/main" id="{FB52C771-E895-1960-CAFF-6D89642C835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8" name="Rectangle 7">
            <a:extLst>
              <a:ext uri="{FF2B5EF4-FFF2-40B4-BE49-F238E27FC236}">
                <a16:creationId xmlns:a16="http://schemas.microsoft.com/office/drawing/2014/main" id="{02CCD983-0E34-44E4-A246-8975BE1CEB11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基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本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息</a:t>
            </a:r>
          </a:p>
        </p:txBody>
      </p:sp>
      <p:sp>
        <p:nvSpPr>
          <p:cNvPr id="48" name="标题 5">
            <a:extLst>
              <a:ext uri="{FF2B5EF4-FFF2-40B4-BE49-F238E27FC236}">
                <a16:creationId xmlns:a16="http://schemas.microsoft.com/office/drawing/2014/main" id="{6EE2FF5E-0202-CF4C-5F25-8AA661490115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1190288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kumimoji="1" lang="zh-CN" altLang="en-US" sz="30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莫博赛替尼是该</a:t>
            </a:r>
            <a:r>
              <a:rPr lang="zh-CN" altLang="en-US" sz="3000" b="1" kern="1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适应症唯一获批的靶向药，</a:t>
            </a:r>
            <a:r>
              <a:rPr lang="zh-CN" altLang="en-US" sz="3600" b="1" kern="100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无合适的参照药</a:t>
            </a:r>
            <a:endParaRPr lang="zh-CN" altLang="en-US" sz="3000" b="1" kern="100" dirty="0">
              <a:solidFill>
                <a:srgbClr val="C00000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04BD89D-0EB1-0DD4-4EEA-3C8D0DC49AC6}"/>
              </a:ext>
            </a:extLst>
          </p:cNvPr>
          <p:cNvSpPr txBox="1"/>
          <p:nvPr/>
        </p:nvSpPr>
        <p:spPr>
          <a:xfrm>
            <a:off x="3464386" y="1335192"/>
            <a:ext cx="7909739" cy="98488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180000" marR="0" lvl="0" indent="-1800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莫博赛替尼是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个且唯一获批的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ex20ins NSCLC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靶向药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TK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仅针对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常见突变，无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ex20ins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适应症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 CSCO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EGFR ex20ins NSCLC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家共识认可莫博赛替尼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临床空白</a:t>
            </a:r>
            <a:r>
              <a:rPr lang="en-US" altLang="zh-CN" sz="16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0" lang="en-US" altLang="zh-CN" sz="160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B63FADE-D0C4-1733-6098-089AE4AB30D9}"/>
              </a:ext>
            </a:extLst>
          </p:cNvPr>
          <p:cNvSpPr txBox="1"/>
          <p:nvPr/>
        </p:nvSpPr>
        <p:spPr>
          <a:xfrm>
            <a:off x="3464386" y="3572594"/>
            <a:ext cx="8305368" cy="33855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180000" marR="0" lvl="0" indent="-1800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ex20ins NSCLC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既往无标准疗法，传统非特异性治疗疗效不明确，不适合作为参照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A921BD5-71A9-3E5F-0675-BEDCEC772261}"/>
              </a:ext>
            </a:extLst>
          </p:cNvPr>
          <p:cNvSpPr txBox="1"/>
          <p:nvPr/>
        </p:nvSpPr>
        <p:spPr>
          <a:xfrm>
            <a:off x="3464386" y="4538678"/>
            <a:ext cx="7909739" cy="33855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180000" marR="0" lvl="0" indent="-1800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莫博赛替尼是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SCO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唯一的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Ⅰ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，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SCO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专家共识唯一的优选推荐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16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2</a:t>
            </a:r>
            <a:endParaRPr kumimoji="0" lang="zh-CN" alt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00CC1C96-3641-E15F-72D6-6BB48F710E8B}"/>
              </a:ext>
            </a:extLst>
          </p:cNvPr>
          <p:cNvSpPr txBox="1"/>
          <p:nvPr/>
        </p:nvSpPr>
        <p:spPr>
          <a:xfrm>
            <a:off x="3464386" y="5343178"/>
            <a:ext cx="7909739" cy="6617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180000" marR="0" lvl="0" indent="-1800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英国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ICE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认可该治疗领域无标准疗法，莫博赛替尼无合适参照</a:t>
            </a: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</a:p>
          <a:p>
            <a:pPr marL="180000" marR="0" lvl="0" indent="-18000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莫博赛替尼针对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罕见靶点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被美国、英国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ICE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和苏格兰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MC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授予孤儿药认定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D123EABA-DF90-771C-7E1E-BA05BBA851ED}"/>
              </a:ext>
            </a:extLst>
          </p:cNvPr>
          <p:cNvSpPr txBox="1"/>
          <p:nvPr/>
        </p:nvSpPr>
        <p:spPr>
          <a:xfrm>
            <a:off x="3464386" y="2444929"/>
            <a:ext cx="7909739" cy="6617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莫博赛替尼机制创新，为我国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新药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并获得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治疗品种认定</a:t>
            </a:r>
          </a:p>
          <a:p>
            <a:pPr marL="180000" marR="0" lvl="0" indent="-18000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ex20ins NSCLC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中没有与莫博赛替尼同机制的药品</a:t>
            </a:r>
            <a:endParaRPr lang="en-US" altLang="zh-CN" sz="16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箭头: 五边形 2">
            <a:extLst>
              <a:ext uri="{FF2B5EF4-FFF2-40B4-BE49-F238E27FC236}">
                <a16:creationId xmlns:a16="http://schemas.microsoft.com/office/drawing/2014/main" id="{D217FFDC-D97C-D4E8-7736-081D0A536EF2}"/>
              </a:ext>
            </a:extLst>
          </p:cNvPr>
          <p:cNvSpPr/>
          <p:nvPr/>
        </p:nvSpPr>
        <p:spPr>
          <a:xfrm>
            <a:off x="531707" y="1416533"/>
            <a:ext cx="2797712" cy="769565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适应症靶向药</a:t>
            </a:r>
          </a:p>
        </p:txBody>
      </p:sp>
      <p:sp>
        <p:nvSpPr>
          <p:cNvPr id="4" name="箭头: 五边形 3">
            <a:extLst>
              <a:ext uri="{FF2B5EF4-FFF2-40B4-BE49-F238E27FC236}">
                <a16:creationId xmlns:a16="http://schemas.microsoft.com/office/drawing/2014/main" id="{DDAB2C8A-116F-AA22-B5A7-7A9D4A826F0E}"/>
              </a:ext>
            </a:extLst>
          </p:cNvPr>
          <p:cNvSpPr/>
          <p:nvPr/>
        </p:nvSpPr>
        <p:spPr>
          <a:xfrm>
            <a:off x="531706" y="3357089"/>
            <a:ext cx="2797712" cy="769565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标准疗法</a:t>
            </a:r>
          </a:p>
        </p:txBody>
      </p:sp>
      <p:sp>
        <p:nvSpPr>
          <p:cNvPr id="5" name="箭头: 五边形 4">
            <a:extLst>
              <a:ext uri="{FF2B5EF4-FFF2-40B4-BE49-F238E27FC236}">
                <a16:creationId xmlns:a16="http://schemas.microsoft.com/office/drawing/2014/main" id="{2D75D8D0-DFB1-4C4E-4F69-A2D72D0D6BFB}"/>
              </a:ext>
            </a:extLst>
          </p:cNvPr>
          <p:cNvSpPr/>
          <p:nvPr/>
        </p:nvSpPr>
        <p:spPr>
          <a:xfrm>
            <a:off x="531706" y="4323173"/>
            <a:ext cx="2797712" cy="769565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唯一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Ⅰ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</a:t>
            </a:r>
          </a:p>
        </p:txBody>
      </p:sp>
      <p:sp>
        <p:nvSpPr>
          <p:cNvPr id="6" name="箭头: 五边形 5">
            <a:extLst>
              <a:ext uri="{FF2B5EF4-FFF2-40B4-BE49-F238E27FC236}">
                <a16:creationId xmlns:a16="http://schemas.microsoft.com/office/drawing/2014/main" id="{DEED8978-A5B9-7DFB-BED1-02E68EF42E1A}"/>
              </a:ext>
            </a:extLst>
          </p:cNvPr>
          <p:cNvSpPr/>
          <p:nvPr/>
        </p:nvSpPr>
        <p:spPr>
          <a:xfrm>
            <a:off x="531706" y="2391005"/>
            <a:ext cx="2797712" cy="769565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机制药物</a:t>
            </a:r>
          </a:p>
        </p:txBody>
      </p:sp>
      <p:sp>
        <p:nvSpPr>
          <p:cNvPr id="7" name="箭头: 五边形 6">
            <a:extLst>
              <a:ext uri="{FF2B5EF4-FFF2-40B4-BE49-F238E27FC236}">
                <a16:creationId xmlns:a16="http://schemas.microsoft.com/office/drawing/2014/main" id="{C727091B-DA33-571D-096B-B69A9DB65A5D}"/>
              </a:ext>
            </a:extLst>
          </p:cNvPr>
          <p:cNvSpPr/>
          <p:nvPr/>
        </p:nvSpPr>
        <p:spPr>
          <a:xfrm>
            <a:off x="515939" y="5289256"/>
            <a:ext cx="2797712" cy="769565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际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威机构认可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合适参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9156B40-B8A6-9E94-531E-4E419CFA89F6}"/>
              </a:ext>
            </a:extLst>
          </p:cNvPr>
          <p:cNvSpPr txBox="1"/>
          <p:nvPr/>
        </p:nvSpPr>
        <p:spPr>
          <a:xfrm>
            <a:off x="450852" y="6273372"/>
            <a:ext cx="112252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注释：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唯一指截至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    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缩写：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CSCO -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临床肿瘤学会；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ICE -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英国国家卫生与临床优化研究所；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MC -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苏格兰医药协会    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参考文献：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EGFR ex20ins NSCLC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规范化诊疗中国专家共识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》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《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非小细胞肺癌诊疗指南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2023)》; 3. NICE Final Appraisal Determination Committee Papers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141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6EC1EFC7-F649-A65E-0AA0-C202034E97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9" imgH="360" progId="TCLayout.ActiveDocument.1">
                  <p:embed/>
                </p:oleObj>
              </mc:Choice>
              <mc:Fallback>
                <p:oleObj name="think-cell 幻灯片" r:id="rId5" imgW="359" imgH="360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6EC1EFC7-F649-A65E-0AA0-C202034E9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: 圆角 6">
            <a:extLst>
              <a:ext uri="{FF2B5EF4-FFF2-40B4-BE49-F238E27FC236}">
                <a16:creationId xmlns:a16="http://schemas.microsoft.com/office/drawing/2014/main" id="{E76EE55E-915A-C79F-2933-70F16B9D4579}"/>
              </a:ext>
            </a:extLst>
          </p:cNvPr>
          <p:cNvSpPr/>
          <p:nvPr/>
        </p:nvSpPr>
        <p:spPr>
          <a:xfrm>
            <a:off x="7812350" y="1695245"/>
            <a:ext cx="3863713" cy="4364773"/>
          </a:xfrm>
          <a:prstGeom prst="roundRect">
            <a:avLst>
              <a:gd name="adj" fmla="val 1345"/>
            </a:avLst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iśḷîḋê">
            <a:extLst>
              <a:ext uri="{FF2B5EF4-FFF2-40B4-BE49-F238E27FC236}">
                <a16:creationId xmlns:a16="http://schemas.microsoft.com/office/drawing/2014/main" id="{C6B2EAD8-E867-1C87-4666-6D6641EFCF91}"/>
              </a:ext>
            </a:extLst>
          </p:cNvPr>
          <p:cNvSpPr/>
          <p:nvPr/>
        </p:nvSpPr>
        <p:spPr>
          <a:xfrm>
            <a:off x="7974949" y="1416369"/>
            <a:ext cx="3538514" cy="540000"/>
          </a:xfrm>
          <a:prstGeom prst="roundRect">
            <a:avLst/>
          </a:prstGeom>
          <a:solidFill>
            <a:srgbClr val="C00000"/>
          </a:solidFill>
          <a:ln w="12700" cap="flat">
            <a:noFill/>
            <a:prstDash val="solid"/>
            <a:miter/>
          </a:ln>
          <a:effectLst/>
        </p:spPr>
        <p:txBody>
          <a:bodyPr wrap="none" rtlCol="0" anchor="ctr"/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在高度未被满足的临床需求</a:t>
            </a:r>
          </a:p>
        </p:txBody>
      </p:sp>
      <p:sp>
        <p:nvSpPr>
          <p:cNvPr id="232" name="矩形: 圆角 231">
            <a:extLst>
              <a:ext uri="{FF2B5EF4-FFF2-40B4-BE49-F238E27FC236}">
                <a16:creationId xmlns:a16="http://schemas.microsoft.com/office/drawing/2014/main" id="{FDABAEBC-4B89-8B72-94E3-C6DBD0E49EF2}"/>
              </a:ext>
            </a:extLst>
          </p:cNvPr>
          <p:cNvSpPr/>
          <p:nvPr/>
        </p:nvSpPr>
        <p:spPr>
          <a:xfrm>
            <a:off x="515937" y="1695245"/>
            <a:ext cx="7163247" cy="4364773"/>
          </a:xfrm>
          <a:prstGeom prst="roundRect">
            <a:avLst>
              <a:gd name="adj" fmla="val 1345"/>
            </a:avLst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5" name="灯片编号占位符 2">
            <a:extLst>
              <a:ext uri="{FF2B5EF4-FFF2-40B4-BE49-F238E27FC236}">
                <a16:creationId xmlns:a16="http://schemas.microsoft.com/office/drawing/2014/main" id="{DDDD2918-54A3-2E66-BB89-8F5C29454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1554" y="6623410"/>
            <a:ext cx="252000" cy="196131"/>
          </a:xfrm>
        </p:spPr>
        <p:txBody>
          <a:bodyPr/>
          <a:lstStyle/>
          <a:p>
            <a:pPr algn="ctr"/>
            <a:fld id="{84174834-AE19-4E6F-B9DB-370160A47D1E}" type="slidenum">
              <a:rPr lang="zh-CN" altLang="en-US" smtClean="0"/>
              <a:pPr algn="ctr"/>
              <a:t>5</a:t>
            </a:fld>
            <a:endParaRPr lang="zh-CN" altLang="en-US"/>
          </a:p>
        </p:txBody>
      </p:sp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516BDB8A-29B2-65BB-046C-D7B27D1A76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240900"/>
              </p:ext>
            </p:extLst>
          </p:nvPr>
        </p:nvGraphicFramePr>
        <p:xfrm>
          <a:off x="886807" y="4260774"/>
          <a:ext cx="6421507" cy="1647466"/>
        </p:xfrm>
        <a:graphic>
          <a:graphicData uri="http://schemas.openxmlformats.org/drawingml/2006/table">
            <a:tbl>
              <a:tblPr/>
              <a:tblGrid>
                <a:gridCol w="1188000">
                  <a:extLst>
                    <a:ext uri="{9D8B030D-6E8A-4147-A177-3AD203B41FA5}">
                      <a16:colId xmlns:a16="http://schemas.microsoft.com/office/drawing/2014/main" val="2818932850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3106432504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1696083233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1225850071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88166502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4119693191"/>
                    </a:ext>
                  </a:extLst>
                </a:gridCol>
                <a:gridCol w="733507">
                  <a:extLst>
                    <a:ext uri="{9D8B030D-6E8A-4147-A177-3AD203B41FA5}">
                      <a16:colId xmlns:a16="http://schemas.microsoft.com/office/drawing/2014/main" val="1265121819"/>
                    </a:ext>
                  </a:extLst>
                </a:gridCol>
              </a:tblGrid>
              <a:tr h="109017">
                <a:tc rowSpan="2" gridSpan="2"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批适应症靶点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批适应症靶点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传统</a:t>
                      </a:r>
                      <a:r>
                        <a:rPr lang="en-US" altLang="zh-CN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GFR TKI</a:t>
                      </a:r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莫博赛替尼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6556333"/>
                  </a:ext>
                </a:extLst>
              </a:tr>
              <a:tr h="109017">
                <a:tc gridSpan="2" vMerge="1">
                  <a:txBody>
                    <a:bodyPr/>
                    <a:lstStyle/>
                    <a:p>
                      <a:pPr algn="ctr"/>
                      <a:endParaRPr lang="zh-CN" altLang="en-US" sz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批适应症靶点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奥希替尼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美替尼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伏美替尼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达可替尼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莫博赛替尼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363365"/>
                  </a:ext>
                </a:extLst>
              </a:tr>
              <a:tr h="6504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GFR</a:t>
                      </a:r>
                      <a:r>
                        <a:rPr lang="zh-CN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见</a:t>
                      </a:r>
                      <a:r>
                        <a:rPr lang="en-US" altLang="zh-CN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耐药突变</a:t>
                      </a:r>
                      <a:endParaRPr lang="en-US" altLang="zh-CN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x19 del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✔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✔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✔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✔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440377"/>
                  </a:ext>
                </a:extLst>
              </a:tr>
              <a:tr h="6504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x21-L858R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377009"/>
                  </a:ext>
                </a:extLst>
              </a:tr>
              <a:tr h="65045">
                <a:tc vMerge="1">
                  <a:txBody>
                    <a:bodyPr/>
                    <a:lstStyle/>
                    <a:p>
                      <a:pPr algn="ctr" fontAlgn="t"/>
                      <a:endParaRPr lang="en-US" sz="12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790M</a:t>
                      </a:r>
                    </a:p>
                  </a:txBody>
                  <a:tcPr marL="4946" marR="4946" marT="49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1" lang="zh-CN" alt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10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lang="zh-CN" altLang="en-US" sz="10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797321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GFR</a:t>
                      </a:r>
                      <a:r>
                        <a:rPr kumimoji="1"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罕见突变</a:t>
                      </a:r>
                    </a:p>
                  </a:txBody>
                  <a:tcPr marL="80833" marR="80833" marT="40417" marB="40417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x20ins</a:t>
                      </a:r>
                      <a:endParaRPr lang="zh-CN" altLang="en-US" sz="2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833" marR="80833" marT="40417" marB="4041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3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×</a:t>
                      </a:r>
                      <a:endParaRPr kumimoji="1" lang="zh-CN" altLang="en-US" sz="3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3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×</a:t>
                      </a:r>
                      <a:endParaRPr kumimoji="1" lang="zh-CN" altLang="en-US" sz="3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3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×</a:t>
                      </a:r>
                      <a:endParaRPr kumimoji="1" lang="zh-CN" altLang="en-US" sz="3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3200" b="1" i="0" u="none" strike="noStrike" dirty="0">
                          <a:solidFill>
                            <a:srgbClr val="C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×</a:t>
                      </a:r>
                      <a:endParaRPr lang="zh-CN" altLang="en-US" sz="3200" b="1" i="0" u="none" strike="noStrike" dirty="0">
                        <a:solidFill>
                          <a:srgbClr val="C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✔</a:t>
                      </a:r>
                      <a:endParaRPr lang="zh-CN" altLang="en-US" sz="3200" b="0" i="0" u="none" strike="noStrike" dirty="0">
                        <a:solidFill>
                          <a:srgbClr val="C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946" marR="4946" marT="4946" marB="0" anchor="ctr">
                    <a:lnL w="6350" cap="flat" cmpd="sng" algn="ctr">
                      <a:solidFill>
                        <a:srgbClr val="00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044743"/>
                  </a:ext>
                </a:extLst>
              </a:tr>
            </a:tbl>
          </a:graphicData>
        </a:graphic>
      </p:graphicFrame>
      <p:sp>
        <p:nvSpPr>
          <p:cNvPr id="17" name="文本框 16">
            <a:extLst>
              <a:ext uri="{FF2B5EF4-FFF2-40B4-BE49-F238E27FC236}">
                <a16:creationId xmlns:a16="http://schemas.microsoft.com/office/drawing/2014/main" id="{E5A51B95-2DA3-79E7-5E40-3A1E814408F5}"/>
              </a:ext>
            </a:extLst>
          </p:cNvPr>
          <p:cNvSpPr txBox="1"/>
          <p:nvPr/>
        </p:nvSpPr>
        <p:spPr>
          <a:xfrm>
            <a:off x="7964404" y="2405661"/>
            <a:ext cx="3538514" cy="17249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2600"/>
              </a:lnSpc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   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DE《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技术审评报告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》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：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截至本品本次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D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请，我国境内尚无特异性靶向药物获批用于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外显子插入突变的晚期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存在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度未被满足的临床需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600" b="1" baseline="30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id="{402F7AB6-B26D-E478-5643-F042A88DD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477" y="2428857"/>
            <a:ext cx="332092" cy="300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423C8687-1FD7-F05C-D948-5B99A6DA1532}"/>
              </a:ext>
            </a:extLst>
          </p:cNvPr>
          <p:cNvSpPr txBox="1"/>
          <p:nvPr/>
        </p:nvSpPr>
        <p:spPr>
          <a:xfrm>
            <a:off x="7964404" y="4472616"/>
            <a:ext cx="3538514" cy="1058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2600"/>
              </a:lnSpc>
            </a:pP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      患者声音：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因缺乏有效治疗手段，患者表示看不到希望，对生活、人生目标等不抱有希望，精神状态很差。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1600" b="1" baseline="30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iconfont-1018-792287">
            <a:extLst>
              <a:ext uri="{FF2B5EF4-FFF2-40B4-BE49-F238E27FC236}">
                <a16:creationId xmlns:a16="http://schemas.microsoft.com/office/drawing/2014/main" id="{0E32A23B-4C4A-B51A-3D94-2DC672D51C2C}"/>
              </a:ext>
            </a:extLst>
          </p:cNvPr>
          <p:cNvSpPr/>
          <p:nvPr/>
        </p:nvSpPr>
        <p:spPr>
          <a:xfrm>
            <a:off x="8113175" y="4499511"/>
            <a:ext cx="314394" cy="314077"/>
          </a:xfrm>
          <a:custGeom>
            <a:avLst/>
            <a:gdLst>
              <a:gd name="T0" fmla="*/ 9481 w 12800"/>
              <a:gd name="T1" fmla="*/ 12563 h 12800"/>
              <a:gd name="T2" fmla="*/ 8163 w 12800"/>
              <a:gd name="T3" fmla="*/ 9379 h 12800"/>
              <a:gd name="T4" fmla="*/ 4978 w 12800"/>
              <a:gd name="T5" fmla="*/ 8060 h 12800"/>
              <a:gd name="T6" fmla="*/ 1792 w 12800"/>
              <a:gd name="T7" fmla="*/ 9377 h 12800"/>
              <a:gd name="T8" fmla="*/ 474 w 12800"/>
              <a:gd name="T9" fmla="*/ 12563 h 12800"/>
              <a:gd name="T10" fmla="*/ 237 w 12800"/>
              <a:gd name="T11" fmla="*/ 12800 h 12800"/>
              <a:gd name="T12" fmla="*/ 0 w 12800"/>
              <a:gd name="T13" fmla="*/ 12563 h 12800"/>
              <a:gd name="T14" fmla="*/ 1452 w 12800"/>
              <a:gd name="T15" fmla="*/ 9037 h 12800"/>
              <a:gd name="T16" fmla="*/ 4978 w 12800"/>
              <a:gd name="T17" fmla="*/ 7585 h 12800"/>
              <a:gd name="T18" fmla="*/ 8504 w 12800"/>
              <a:gd name="T19" fmla="*/ 9037 h 12800"/>
              <a:gd name="T20" fmla="*/ 9956 w 12800"/>
              <a:gd name="T21" fmla="*/ 12563 h 12800"/>
              <a:gd name="T22" fmla="*/ 9719 w 12800"/>
              <a:gd name="T23" fmla="*/ 12800 h 12800"/>
              <a:gd name="T24" fmla="*/ 9481 w 12800"/>
              <a:gd name="T25" fmla="*/ 12563 h 12800"/>
              <a:gd name="T26" fmla="*/ 4978 w 12800"/>
              <a:gd name="T27" fmla="*/ 8059 h 12800"/>
              <a:gd name="T28" fmla="*/ 3126 w 12800"/>
              <a:gd name="T29" fmla="*/ 7304 h 12800"/>
              <a:gd name="T30" fmla="*/ 2371 w 12800"/>
              <a:gd name="T31" fmla="*/ 5452 h 12800"/>
              <a:gd name="T32" fmla="*/ 2801 w 12800"/>
              <a:gd name="T33" fmla="*/ 4029 h 12800"/>
              <a:gd name="T34" fmla="*/ 3941 w 12800"/>
              <a:gd name="T35" fmla="*/ 3052 h 12800"/>
              <a:gd name="T36" fmla="*/ 4238 w 12800"/>
              <a:gd name="T37" fmla="*/ 3171 h 12800"/>
              <a:gd name="T38" fmla="*/ 4119 w 12800"/>
              <a:gd name="T39" fmla="*/ 3496 h 12800"/>
              <a:gd name="T40" fmla="*/ 3185 w 12800"/>
              <a:gd name="T41" fmla="*/ 4266 h 12800"/>
              <a:gd name="T42" fmla="*/ 2844 w 12800"/>
              <a:gd name="T43" fmla="*/ 5452 h 12800"/>
              <a:gd name="T44" fmla="*/ 3466 w 12800"/>
              <a:gd name="T45" fmla="*/ 6963 h 12800"/>
              <a:gd name="T46" fmla="*/ 4978 w 12800"/>
              <a:gd name="T47" fmla="*/ 7585 h 12800"/>
              <a:gd name="T48" fmla="*/ 6252 w 12800"/>
              <a:gd name="T49" fmla="*/ 7171 h 12800"/>
              <a:gd name="T50" fmla="*/ 6578 w 12800"/>
              <a:gd name="T51" fmla="*/ 7200 h 12800"/>
              <a:gd name="T52" fmla="*/ 6548 w 12800"/>
              <a:gd name="T53" fmla="*/ 7526 h 12800"/>
              <a:gd name="T54" fmla="*/ 4978 w 12800"/>
              <a:gd name="T55" fmla="*/ 8059 h 12800"/>
              <a:gd name="T56" fmla="*/ 6874 w 12800"/>
              <a:gd name="T57" fmla="*/ 6637 h 12800"/>
              <a:gd name="T58" fmla="*/ 6785 w 12800"/>
              <a:gd name="T59" fmla="*/ 6607 h 12800"/>
              <a:gd name="T60" fmla="*/ 6637 w 12800"/>
              <a:gd name="T61" fmla="*/ 6400 h 12800"/>
              <a:gd name="T62" fmla="*/ 6637 w 12800"/>
              <a:gd name="T63" fmla="*/ 5215 h 12800"/>
              <a:gd name="T64" fmla="*/ 5688 w 12800"/>
              <a:gd name="T65" fmla="*/ 5215 h 12800"/>
              <a:gd name="T66" fmla="*/ 5007 w 12800"/>
              <a:gd name="T67" fmla="*/ 4948 h 12800"/>
              <a:gd name="T68" fmla="*/ 4741 w 12800"/>
              <a:gd name="T69" fmla="*/ 4266 h 12800"/>
              <a:gd name="T70" fmla="*/ 4741 w 12800"/>
              <a:gd name="T71" fmla="*/ 948 h 12800"/>
              <a:gd name="T72" fmla="*/ 5007 w 12800"/>
              <a:gd name="T73" fmla="*/ 268 h 12800"/>
              <a:gd name="T74" fmla="*/ 5688 w 12800"/>
              <a:gd name="T75" fmla="*/ 0 h 12800"/>
              <a:gd name="T76" fmla="*/ 11852 w 12800"/>
              <a:gd name="T77" fmla="*/ 0 h 12800"/>
              <a:gd name="T78" fmla="*/ 12532 w 12800"/>
              <a:gd name="T79" fmla="*/ 266 h 12800"/>
              <a:gd name="T80" fmla="*/ 12800 w 12800"/>
              <a:gd name="T81" fmla="*/ 948 h 12800"/>
              <a:gd name="T82" fmla="*/ 12800 w 12800"/>
              <a:gd name="T83" fmla="*/ 4268 h 12800"/>
              <a:gd name="T84" fmla="*/ 12534 w 12800"/>
              <a:gd name="T85" fmla="*/ 4948 h 12800"/>
              <a:gd name="T86" fmla="*/ 11852 w 12800"/>
              <a:gd name="T87" fmla="*/ 5215 h 12800"/>
              <a:gd name="T88" fmla="*/ 8622 w 12800"/>
              <a:gd name="T89" fmla="*/ 5215 h 12800"/>
              <a:gd name="T90" fmla="*/ 7022 w 12800"/>
              <a:gd name="T91" fmla="*/ 6578 h 12800"/>
              <a:gd name="T92" fmla="*/ 6874 w 12800"/>
              <a:gd name="T93" fmla="*/ 6637 h 12800"/>
              <a:gd name="T94" fmla="*/ 5688 w 12800"/>
              <a:gd name="T95" fmla="*/ 474 h 12800"/>
              <a:gd name="T96" fmla="*/ 5215 w 12800"/>
              <a:gd name="T97" fmla="*/ 947 h 12800"/>
              <a:gd name="T98" fmla="*/ 5215 w 12800"/>
              <a:gd name="T99" fmla="*/ 4266 h 12800"/>
              <a:gd name="T100" fmla="*/ 5688 w 12800"/>
              <a:gd name="T101" fmla="*/ 4740 h 12800"/>
              <a:gd name="T102" fmla="*/ 6874 w 12800"/>
              <a:gd name="T103" fmla="*/ 4740 h 12800"/>
              <a:gd name="T104" fmla="*/ 7110 w 12800"/>
              <a:gd name="T105" fmla="*/ 4977 h 12800"/>
              <a:gd name="T106" fmla="*/ 7110 w 12800"/>
              <a:gd name="T107" fmla="*/ 5896 h 12800"/>
              <a:gd name="T108" fmla="*/ 8385 w 12800"/>
              <a:gd name="T109" fmla="*/ 4800 h 12800"/>
              <a:gd name="T110" fmla="*/ 8534 w 12800"/>
              <a:gd name="T111" fmla="*/ 4741 h 12800"/>
              <a:gd name="T112" fmla="*/ 11853 w 12800"/>
              <a:gd name="T113" fmla="*/ 4741 h 12800"/>
              <a:gd name="T114" fmla="*/ 12326 w 12800"/>
              <a:gd name="T115" fmla="*/ 4268 h 12800"/>
              <a:gd name="T116" fmla="*/ 12326 w 12800"/>
              <a:gd name="T117" fmla="*/ 948 h 12800"/>
              <a:gd name="T118" fmla="*/ 11853 w 12800"/>
              <a:gd name="T119" fmla="*/ 475 h 12800"/>
              <a:gd name="T120" fmla="*/ 5688 w 12800"/>
              <a:gd name="T121" fmla="*/ 475 h 12800"/>
              <a:gd name="T122" fmla="*/ 5688 w 12800"/>
              <a:gd name="T123" fmla="*/ 474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00" h="12800">
                <a:moveTo>
                  <a:pt x="9481" y="12563"/>
                </a:moveTo>
                <a:cubicBezTo>
                  <a:pt x="9481" y="11319"/>
                  <a:pt x="9042" y="10257"/>
                  <a:pt x="8163" y="9379"/>
                </a:cubicBezTo>
                <a:cubicBezTo>
                  <a:pt x="7283" y="8500"/>
                  <a:pt x="6222" y="8060"/>
                  <a:pt x="4978" y="8060"/>
                </a:cubicBezTo>
                <a:cubicBezTo>
                  <a:pt x="3734" y="8060"/>
                  <a:pt x="2671" y="8499"/>
                  <a:pt x="1792" y="9377"/>
                </a:cubicBezTo>
                <a:cubicBezTo>
                  <a:pt x="914" y="10257"/>
                  <a:pt x="474" y="11319"/>
                  <a:pt x="474" y="12563"/>
                </a:cubicBezTo>
                <a:cubicBezTo>
                  <a:pt x="474" y="12722"/>
                  <a:pt x="396" y="12800"/>
                  <a:pt x="237" y="12800"/>
                </a:cubicBezTo>
                <a:cubicBezTo>
                  <a:pt x="78" y="12800"/>
                  <a:pt x="0" y="12722"/>
                  <a:pt x="0" y="12563"/>
                </a:cubicBezTo>
                <a:cubicBezTo>
                  <a:pt x="0" y="11181"/>
                  <a:pt x="484" y="10004"/>
                  <a:pt x="1452" y="9037"/>
                </a:cubicBezTo>
                <a:cubicBezTo>
                  <a:pt x="2419" y="8069"/>
                  <a:pt x="3596" y="7585"/>
                  <a:pt x="4978" y="7585"/>
                </a:cubicBezTo>
                <a:cubicBezTo>
                  <a:pt x="6360" y="7585"/>
                  <a:pt x="7535" y="8070"/>
                  <a:pt x="8504" y="9037"/>
                </a:cubicBezTo>
                <a:cubicBezTo>
                  <a:pt x="9472" y="10004"/>
                  <a:pt x="9956" y="11181"/>
                  <a:pt x="9956" y="12563"/>
                </a:cubicBezTo>
                <a:cubicBezTo>
                  <a:pt x="9956" y="12722"/>
                  <a:pt x="9876" y="12800"/>
                  <a:pt x="9719" y="12800"/>
                </a:cubicBezTo>
                <a:cubicBezTo>
                  <a:pt x="9560" y="12800"/>
                  <a:pt x="9481" y="12722"/>
                  <a:pt x="9481" y="12563"/>
                </a:cubicBezTo>
                <a:close/>
                <a:moveTo>
                  <a:pt x="4978" y="8059"/>
                </a:moveTo>
                <a:cubicBezTo>
                  <a:pt x="4247" y="8059"/>
                  <a:pt x="3630" y="7807"/>
                  <a:pt x="3126" y="7304"/>
                </a:cubicBezTo>
                <a:cubicBezTo>
                  <a:pt x="2621" y="6801"/>
                  <a:pt x="2371" y="6182"/>
                  <a:pt x="2371" y="5452"/>
                </a:cubicBezTo>
                <a:cubicBezTo>
                  <a:pt x="2371" y="4938"/>
                  <a:pt x="2514" y="4463"/>
                  <a:pt x="2801" y="4029"/>
                </a:cubicBezTo>
                <a:cubicBezTo>
                  <a:pt x="3087" y="3596"/>
                  <a:pt x="3468" y="3269"/>
                  <a:pt x="3941" y="3052"/>
                </a:cubicBezTo>
                <a:cubicBezTo>
                  <a:pt x="4099" y="3012"/>
                  <a:pt x="4198" y="3052"/>
                  <a:pt x="4238" y="3171"/>
                </a:cubicBezTo>
                <a:cubicBezTo>
                  <a:pt x="4296" y="3309"/>
                  <a:pt x="4257" y="3418"/>
                  <a:pt x="4119" y="3496"/>
                </a:cubicBezTo>
                <a:cubicBezTo>
                  <a:pt x="3724" y="3654"/>
                  <a:pt x="3412" y="3912"/>
                  <a:pt x="3185" y="4266"/>
                </a:cubicBezTo>
                <a:cubicBezTo>
                  <a:pt x="2958" y="4622"/>
                  <a:pt x="2844" y="5018"/>
                  <a:pt x="2844" y="5452"/>
                </a:cubicBezTo>
                <a:cubicBezTo>
                  <a:pt x="2844" y="6044"/>
                  <a:pt x="3052" y="6547"/>
                  <a:pt x="3466" y="6963"/>
                </a:cubicBezTo>
                <a:cubicBezTo>
                  <a:pt x="3881" y="7378"/>
                  <a:pt x="4385" y="7585"/>
                  <a:pt x="4978" y="7585"/>
                </a:cubicBezTo>
                <a:cubicBezTo>
                  <a:pt x="5452" y="7585"/>
                  <a:pt x="5876" y="7447"/>
                  <a:pt x="6252" y="7171"/>
                </a:cubicBezTo>
                <a:cubicBezTo>
                  <a:pt x="6390" y="7072"/>
                  <a:pt x="6499" y="7082"/>
                  <a:pt x="6578" y="7200"/>
                </a:cubicBezTo>
                <a:cubicBezTo>
                  <a:pt x="6676" y="7338"/>
                  <a:pt x="6666" y="7447"/>
                  <a:pt x="6548" y="7526"/>
                </a:cubicBezTo>
                <a:cubicBezTo>
                  <a:pt x="6074" y="7881"/>
                  <a:pt x="5550" y="8059"/>
                  <a:pt x="4978" y="8059"/>
                </a:cubicBezTo>
                <a:close/>
                <a:moveTo>
                  <a:pt x="6874" y="6637"/>
                </a:moveTo>
                <a:cubicBezTo>
                  <a:pt x="6834" y="6637"/>
                  <a:pt x="6804" y="6627"/>
                  <a:pt x="6785" y="6607"/>
                </a:cubicBezTo>
                <a:cubicBezTo>
                  <a:pt x="6687" y="6568"/>
                  <a:pt x="6637" y="6500"/>
                  <a:pt x="6637" y="6400"/>
                </a:cubicBezTo>
                <a:lnTo>
                  <a:pt x="6637" y="5215"/>
                </a:lnTo>
                <a:lnTo>
                  <a:pt x="5688" y="5215"/>
                </a:lnTo>
                <a:cubicBezTo>
                  <a:pt x="5412" y="5215"/>
                  <a:pt x="5185" y="5125"/>
                  <a:pt x="5007" y="4948"/>
                </a:cubicBezTo>
                <a:cubicBezTo>
                  <a:pt x="4829" y="4771"/>
                  <a:pt x="4741" y="4544"/>
                  <a:pt x="4741" y="4266"/>
                </a:cubicBezTo>
                <a:lnTo>
                  <a:pt x="4741" y="948"/>
                </a:lnTo>
                <a:cubicBezTo>
                  <a:pt x="4741" y="672"/>
                  <a:pt x="4829" y="444"/>
                  <a:pt x="5007" y="268"/>
                </a:cubicBezTo>
                <a:cubicBezTo>
                  <a:pt x="5185" y="88"/>
                  <a:pt x="5412" y="0"/>
                  <a:pt x="5688" y="0"/>
                </a:cubicBezTo>
                <a:lnTo>
                  <a:pt x="11852" y="0"/>
                </a:lnTo>
                <a:cubicBezTo>
                  <a:pt x="12128" y="0"/>
                  <a:pt x="12355" y="88"/>
                  <a:pt x="12532" y="266"/>
                </a:cubicBezTo>
                <a:cubicBezTo>
                  <a:pt x="12712" y="444"/>
                  <a:pt x="12800" y="672"/>
                  <a:pt x="12800" y="948"/>
                </a:cubicBezTo>
                <a:lnTo>
                  <a:pt x="12800" y="4268"/>
                </a:lnTo>
                <a:cubicBezTo>
                  <a:pt x="12800" y="4544"/>
                  <a:pt x="12712" y="4771"/>
                  <a:pt x="12534" y="4948"/>
                </a:cubicBezTo>
                <a:cubicBezTo>
                  <a:pt x="12356" y="5126"/>
                  <a:pt x="12128" y="5215"/>
                  <a:pt x="11852" y="5215"/>
                </a:cubicBezTo>
                <a:lnTo>
                  <a:pt x="8622" y="5215"/>
                </a:lnTo>
                <a:lnTo>
                  <a:pt x="7022" y="6578"/>
                </a:lnTo>
                <a:cubicBezTo>
                  <a:pt x="6982" y="6618"/>
                  <a:pt x="6934" y="6637"/>
                  <a:pt x="6874" y="6637"/>
                </a:cubicBezTo>
                <a:close/>
                <a:moveTo>
                  <a:pt x="5688" y="474"/>
                </a:moveTo>
                <a:cubicBezTo>
                  <a:pt x="5372" y="474"/>
                  <a:pt x="5215" y="632"/>
                  <a:pt x="5215" y="947"/>
                </a:cubicBezTo>
                <a:lnTo>
                  <a:pt x="5215" y="4266"/>
                </a:lnTo>
                <a:cubicBezTo>
                  <a:pt x="5215" y="4582"/>
                  <a:pt x="5372" y="4740"/>
                  <a:pt x="5688" y="4740"/>
                </a:cubicBezTo>
                <a:lnTo>
                  <a:pt x="6874" y="4740"/>
                </a:lnTo>
                <a:cubicBezTo>
                  <a:pt x="7031" y="4740"/>
                  <a:pt x="7110" y="4819"/>
                  <a:pt x="7110" y="4977"/>
                </a:cubicBezTo>
                <a:lnTo>
                  <a:pt x="7110" y="5896"/>
                </a:lnTo>
                <a:lnTo>
                  <a:pt x="8385" y="4800"/>
                </a:lnTo>
                <a:cubicBezTo>
                  <a:pt x="8425" y="4760"/>
                  <a:pt x="8474" y="4741"/>
                  <a:pt x="8534" y="4741"/>
                </a:cubicBezTo>
                <a:lnTo>
                  <a:pt x="11853" y="4741"/>
                </a:lnTo>
                <a:cubicBezTo>
                  <a:pt x="12169" y="4741"/>
                  <a:pt x="12326" y="4584"/>
                  <a:pt x="12326" y="4268"/>
                </a:cubicBezTo>
                <a:lnTo>
                  <a:pt x="12326" y="948"/>
                </a:lnTo>
                <a:cubicBezTo>
                  <a:pt x="12326" y="632"/>
                  <a:pt x="12169" y="475"/>
                  <a:pt x="11853" y="475"/>
                </a:cubicBezTo>
                <a:lnTo>
                  <a:pt x="5688" y="475"/>
                </a:lnTo>
                <a:lnTo>
                  <a:pt x="5688" y="4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śḷîḋê">
            <a:extLst>
              <a:ext uri="{FF2B5EF4-FFF2-40B4-BE49-F238E27FC236}">
                <a16:creationId xmlns:a16="http://schemas.microsoft.com/office/drawing/2014/main" id="{AAF9E097-A792-E5E1-B9B6-3067B193F68B}"/>
              </a:ext>
            </a:extLst>
          </p:cNvPr>
          <p:cNvSpPr/>
          <p:nvPr/>
        </p:nvSpPr>
        <p:spPr>
          <a:xfrm>
            <a:off x="1699800" y="1416369"/>
            <a:ext cx="4795520" cy="540000"/>
          </a:xfrm>
          <a:prstGeom prst="roundRect">
            <a:avLst/>
          </a:prstGeom>
          <a:solidFill>
            <a:srgbClr val="C00000"/>
          </a:solidFill>
          <a:ln w="12700" cap="flat">
            <a:noFill/>
            <a:prstDash val="solid"/>
            <a:miter/>
          </a:ln>
          <a:effectLst/>
        </p:spPr>
        <p:txBody>
          <a:bodyPr wrap="none" rtlCol="0" anchor="ctr"/>
          <a:lstStyle/>
          <a:p>
            <a:pPr algn="ctr"/>
            <a:r>
              <a:rPr lang="zh-CN" altLang="en-US" sz="2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无有效治疗药物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84697CC6-BB52-BB9F-533C-8B7D30F67B38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基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本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息</a:t>
            </a:r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6F0DFD71-4198-631E-0144-82ACC355FABD}"/>
              </a:ext>
            </a:extLst>
          </p:cNvPr>
          <p:cNvSpPr txBox="1">
            <a:spLocks/>
          </p:cNvSpPr>
          <p:nvPr/>
        </p:nvSpPr>
        <p:spPr>
          <a:xfrm>
            <a:off x="450852" y="318342"/>
            <a:ext cx="11052066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n-US" altLang="zh-CN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 ex20ins NSCLC</a:t>
            </a:r>
            <a:r>
              <a:rPr lang="zh-CN" altLang="en-US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临床和医保目录缺乏有效治疗药物，存在高度未被满足的临床需求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4150D26-2414-0B78-2272-3315260C9CD2}"/>
              </a:ext>
            </a:extLst>
          </p:cNvPr>
          <p:cNvSpPr txBox="1"/>
          <p:nvPr/>
        </p:nvSpPr>
        <p:spPr>
          <a:xfrm>
            <a:off x="575884" y="2108250"/>
            <a:ext cx="7138812" cy="1641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区别于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常见突变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预后更差，无有效治疗药物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180000">
              <a:lnSpc>
                <a:spcPts val="2000"/>
              </a:lnSpc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方案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*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R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-14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2-3.4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，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O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.1-12.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ts val="2000"/>
              </a:lnSpc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本品获批前国内无获批针对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靶向药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000" indent="-180000">
              <a:lnSpc>
                <a:spcPts val="2000"/>
              </a:lnSpc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无针对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靶向药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5676E9D-E7AE-427E-8163-81BB80A8A47A}"/>
              </a:ext>
            </a:extLst>
          </p:cNvPr>
          <p:cNvSpPr txBox="1"/>
          <p:nvPr/>
        </p:nvSpPr>
        <p:spPr>
          <a:xfrm>
            <a:off x="911301" y="3920929"/>
            <a:ext cx="6372518" cy="3273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  <a:spcBef>
                <a:spcPts val="300"/>
              </a:spcBef>
            </a:pPr>
            <a:r>
              <a:rPr lang="zh-CN" altLang="en-US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</a:t>
            </a:r>
            <a:r>
              <a:rPr lang="en-US" altLang="zh-CN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TKI</a:t>
            </a:r>
            <a:r>
              <a:rPr lang="zh-CN" altLang="en-US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针对</a:t>
            </a:r>
            <a:r>
              <a:rPr lang="en-US" altLang="zh-CN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</a:t>
            </a:r>
            <a:r>
              <a:rPr lang="zh-CN" altLang="en-US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常见突变，无</a:t>
            </a:r>
            <a:r>
              <a:rPr lang="en-US" altLang="zh-CN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</a:t>
            </a:r>
            <a:r>
              <a:rPr lang="zh-CN" altLang="en-US" sz="12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适应症</a:t>
            </a:r>
            <a:endParaRPr lang="en-US" altLang="zh-CN" sz="1200" b="1" u="sng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5E881ACB-0B86-904C-0118-CDB014EEFD6D}"/>
              </a:ext>
            </a:extLst>
          </p:cNvPr>
          <p:cNvSpPr txBox="1"/>
          <p:nvPr/>
        </p:nvSpPr>
        <p:spPr>
          <a:xfrm>
            <a:off x="450852" y="6273372"/>
            <a:ext cx="112252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释</a:t>
            </a:r>
            <a:r>
              <a:rPr lang="en-US" altLang="zh-CN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EGFR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常见突变指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19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外显子和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外显子突变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方案包括化疗、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TKI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免疫治疗，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R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S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传统方案治疗含铂化疗经治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疗效数据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fr-FR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Sai-Hong </a:t>
            </a:r>
            <a:r>
              <a:rPr lang="fr-FR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gnatius</a:t>
            </a:r>
            <a:r>
              <a:rPr lang="fr-FR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Ou, et al. 2021 ASCO. Abstract #9098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; 2. 《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琥珀酸莫博赛替尼胶囊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XHS2101024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申请上市技术审评报告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;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 《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琥珀酸莫博赛替尼胶囊治疗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显子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插入突变的非小细胞肺癌的卫生技术评估报告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zh-CN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141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对象 32" hidden="1">
            <a:extLst>
              <a:ext uri="{FF2B5EF4-FFF2-40B4-BE49-F238E27FC236}">
                <a16:creationId xmlns:a16="http://schemas.microsoft.com/office/drawing/2014/main" id="{45AC76B7-9BEC-C91D-79FB-486C09E304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663" imgH="664" progId="TCLayout.ActiveDocument.1">
                  <p:embed/>
                </p:oleObj>
              </mc:Choice>
              <mc:Fallback>
                <p:oleObj name="think-cell 幻灯片" r:id="rId9" imgW="663" imgH="664" progId="TCLayout.ActiveDocument.1">
                  <p:embed/>
                  <p:pic>
                    <p:nvPicPr>
                      <p:cNvPr id="33" name="对象 32" hidden="1">
                        <a:extLst>
                          <a:ext uri="{FF2B5EF4-FFF2-40B4-BE49-F238E27FC236}">
                            <a16:creationId xmlns:a16="http://schemas.microsoft.com/office/drawing/2014/main" id="{45AC76B7-9BEC-C91D-79FB-486C09E304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矩形 101">
            <a:extLst>
              <a:ext uri="{FF2B5EF4-FFF2-40B4-BE49-F238E27FC236}">
                <a16:creationId xmlns:a16="http://schemas.microsoft.com/office/drawing/2014/main" id="{34DD1AC0-19CE-A89C-F585-6C77ECEF838A}"/>
              </a:ext>
            </a:extLst>
          </p:cNvPr>
          <p:cNvSpPr/>
          <p:nvPr/>
        </p:nvSpPr>
        <p:spPr>
          <a:xfrm>
            <a:off x="522358" y="2043684"/>
            <a:ext cx="6953167" cy="35410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51B67A0-E6DD-3680-55B8-E4810F0A2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E2251EA-BDCD-27A6-ED43-58AF458F9A8B}"/>
              </a:ext>
            </a:extLst>
          </p:cNvPr>
          <p:cNvSpPr txBox="1"/>
          <p:nvPr/>
        </p:nvSpPr>
        <p:spPr>
          <a:xfrm>
            <a:off x="4222610" y="2082500"/>
            <a:ext cx="2074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b="0" u="sng" dirty="0"/>
              <a:t>间接比较分析（</a:t>
            </a:r>
            <a:r>
              <a:rPr lang="en-US" altLang="zh-CN" b="0" u="sng" dirty="0"/>
              <a:t>ITC</a:t>
            </a:r>
            <a:r>
              <a:rPr lang="zh-CN" altLang="en-US" b="0" u="sng" dirty="0"/>
              <a:t>）</a:t>
            </a:r>
            <a:r>
              <a:rPr lang="en-US" altLang="zh-CN" b="0" dirty="0"/>
              <a:t>*</a:t>
            </a:r>
            <a:r>
              <a:rPr lang="en-US" altLang="zh-CN" b="0" baseline="30000" dirty="0"/>
              <a:t>1</a:t>
            </a:r>
          </a:p>
        </p:txBody>
      </p:sp>
      <p:graphicFrame>
        <p:nvGraphicFramePr>
          <p:cNvPr id="55" name="Chart 3">
            <a:extLst>
              <a:ext uri="{FF2B5EF4-FFF2-40B4-BE49-F238E27FC236}">
                <a16:creationId xmlns:a16="http://schemas.microsoft.com/office/drawing/2014/main" id="{CAFE5878-C33B-AAE1-45EA-2BBFF835BF02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3636963" y="4627563"/>
          <a:ext cx="2482850" cy="59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2" name="テキスト プレースホルダ 2">
            <a:extLst>
              <a:ext uri="{FF2B5EF4-FFF2-40B4-BE49-F238E27FC236}">
                <a16:creationId xmlns:a16="http://schemas.microsoft.com/office/drawing/2014/main" id="{34BC488B-43DF-9B6F-8573-D76B690421D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051300" y="4440238"/>
            <a:ext cx="4968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A05B2D9-31C2-4DF5-9CA4-07A771848650}" type="datetime'''''''''''''35''%'''''">
              <a:rPr lang="en-US" altLang="en-US" sz="1600" b="1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35%</a:t>
            </a:fld>
            <a:endParaRPr kumimoji="1" lang="zh-CN" altLang="en-US" sz="1600" b="1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テキスト プレースホルダ 2">
            <a:extLst>
              <a:ext uri="{FF2B5EF4-FFF2-40B4-BE49-F238E27FC236}">
                <a16:creationId xmlns:a16="http://schemas.microsoft.com/office/drawing/2014/main" id="{EC8FFE81-4366-F868-BCD2-2C5654208B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295900" y="4897438"/>
            <a:ext cx="325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4C639A5-4B10-49A6-AF44-6F931B27DF63}" type="datetime'''''''''''''''''''''0''''''''''''%'''''''''''''''''''''''''''">
              <a:rPr lang="en-US" altLang="en-US" sz="1400" b="1" smtClean="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/>
              <a:t>0%</a:t>
            </a:fld>
            <a:endParaRPr kumimoji="1" lang="zh-CN" altLang="en-US" sz="1400" b="1" i="0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D688D89F-1FF2-0468-F8BF-932A0AA98A1E}"/>
              </a:ext>
            </a:extLst>
          </p:cNvPr>
          <p:cNvSpPr txBox="1"/>
          <p:nvPr/>
        </p:nvSpPr>
        <p:spPr>
          <a:xfrm>
            <a:off x="515936" y="1414658"/>
            <a:ext cx="6953167" cy="540000"/>
          </a:xfrm>
          <a:prstGeom prst="roundRect">
            <a:avLst/>
          </a:prstGeom>
          <a:solidFill>
            <a:srgbClr val="C00000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莫博赛替尼显著改善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生存结局</a:t>
            </a:r>
            <a:endParaRPr lang="zh-CN" altLang="en-US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Rectangle 7">
            <a:extLst>
              <a:ext uri="{FF2B5EF4-FFF2-40B4-BE49-F238E27FC236}">
                <a16:creationId xmlns:a16="http://schemas.microsoft.com/office/drawing/2014/main" id="{A0D6F370-99C2-9FB5-D40C-5C08C7049DCC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有效性</a:t>
            </a:r>
          </a:p>
        </p:txBody>
      </p:sp>
      <p:sp>
        <p:nvSpPr>
          <p:cNvPr id="81" name="标题 5">
            <a:extLst>
              <a:ext uri="{FF2B5EF4-FFF2-40B4-BE49-F238E27FC236}">
                <a16:creationId xmlns:a16="http://schemas.microsoft.com/office/drawing/2014/main" id="{B9EDABFC-1B32-5C97-D67E-229C9EB0B522}"/>
              </a:ext>
            </a:extLst>
          </p:cNvPr>
          <p:cNvSpPr txBox="1">
            <a:spLocks/>
          </p:cNvSpPr>
          <p:nvPr/>
        </p:nvSpPr>
        <p:spPr>
          <a:xfrm>
            <a:off x="450852" y="318342"/>
            <a:ext cx="11510174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zh-CN" altLang="en-US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莫博赛替尼为</a:t>
            </a:r>
            <a:r>
              <a:rPr lang="en-US" altLang="zh-CN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GFR ex20ins NSCLC</a:t>
            </a:r>
            <a:r>
              <a:rPr lang="zh-CN" altLang="en-US" sz="3000" b="1" kern="1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患者带来空前的长生存获益，显著改善患者的生存结局</a:t>
            </a: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ED21D178-663F-0890-2495-754E41ACB917}"/>
              </a:ext>
            </a:extLst>
          </p:cNvPr>
          <p:cNvSpPr txBox="1"/>
          <p:nvPr/>
        </p:nvSpPr>
        <p:spPr>
          <a:xfrm>
            <a:off x="6197600" y="4846638"/>
            <a:ext cx="944563" cy="152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P</a:t>
            </a:r>
            <a:r>
              <a:rPr lang="zh-CN" altLang="en-US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＜</a:t>
            </a:r>
            <a:r>
              <a:rPr lang="en-US" altLang="zh-CN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0.0001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00F1195A-5345-5F97-B586-D66F6840F016}"/>
              </a:ext>
            </a:extLst>
          </p:cNvPr>
          <p:cNvSpPr/>
          <p:nvPr/>
        </p:nvSpPr>
        <p:spPr>
          <a:xfrm>
            <a:off x="522358" y="5578051"/>
            <a:ext cx="10712483" cy="6080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其他治疗含化疗、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TKI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免疫治疗。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标准疗法，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为传统治疗临床获益有限</a:t>
            </a:r>
            <a:r>
              <a:rPr lang="en-US" altLang="zh-CN" sz="12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莫博赛替尼疗效数据来自注册临床研究</a:t>
            </a:r>
          </a:p>
        </p:txBody>
      </p:sp>
      <p:sp>
        <p:nvSpPr>
          <p:cNvPr id="4" name="矩形 29">
            <a:extLst>
              <a:ext uri="{FF2B5EF4-FFF2-40B4-BE49-F238E27FC236}">
                <a16:creationId xmlns:a16="http://schemas.microsoft.com/office/drawing/2014/main" id="{38298278-8C1B-54DF-71A4-F2058660F694}"/>
              </a:ext>
            </a:extLst>
          </p:cNvPr>
          <p:cNvSpPr/>
          <p:nvPr/>
        </p:nvSpPr>
        <p:spPr>
          <a:xfrm>
            <a:off x="7898757" y="2043684"/>
            <a:ext cx="3770884" cy="2097256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30">
            <a:extLst>
              <a:ext uri="{FF2B5EF4-FFF2-40B4-BE49-F238E27FC236}">
                <a16:creationId xmlns:a16="http://schemas.microsoft.com/office/drawing/2014/main" id="{E3D98B91-6002-F1A5-58F8-237C92FFD510}"/>
              </a:ext>
            </a:extLst>
          </p:cNvPr>
          <p:cNvSpPr/>
          <p:nvPr/>
        </p:nvSpPr>
        <p:spPr>
          <a:xfrm>
            <a:off x="7898757" y="4225865"/>
            <a:ext cx="3770884" cy="1358855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63323-3763-AD18-DEE0-14143A0DDF17}"/>
              </a:ext>
            </a:extLst>
          </p:cNvPr>
          <p:cNvSpPr txBox="1"/>
          <p:nvPr/>
        </p:nvSpPr>
        <p:spPr>
          <a:xfrm>
            <a:off x="8110760" y="2114511"/>
            <a:ext cx="33468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亚裔亚组分析结果与整体结果一致</a:t>
            </a:r>
          </a:p>
        </p:txBody>
      </p:sp>
      <p:sp>
        <p:nvSpPr>
          <p:cNvPr id="13" name="文本框 3">
            <a:extLst>
              <a:ext uri="{FF2B5EF4-FFF2-40B4-BE49-F238E27FC236}">
                <a16:creationId xmlns:a16="http://schemas.microsoft.com/office/drawing/2014/main" id="{50CC7B1C-6DB0-2422-AD18-1A5989F22E13}"/>
              </a:ext>
            </a:extLst>
          </p:cNvPr>
          <p:cNvSpPr txBox="1"/>
          <p:nvPr/>
        </p:nvSpPr>
        <p:spPr>
          <a:xfrm>
            <a:off x="8037610" y="2469453"/>
            <a:ext cx="3493178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亚裔患者入组贡献率达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其中中国患者占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3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亚裔患者关键疗效数据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sp>
        <p:nvSpPr>
          <p:cNvPr id="15" name="矩形 24">
            <a:extLst>
              <a:ext uri="{FF2B5EF4-FFF2-40B4-BE49-F238E27FC236}">
                <a16:creationId xmlns:a16="http://schemas.microsoft.com/office/drawing/2014/main" id="{99CE4468-FD15-EF93-5925-732F066A0E22}"/>
              </a:ext>
            </a:extLst>
          </p:cNvPr>
          <p:cNvSpPr/>
          <p:nvPr/>
        </p:nvSpPr>
        <p:spPr>
          <a:xfrm>
            <a:off x="8532689" y="3309145"/>
            <a:ext cx="800100" cy="3159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</a:p>
        </p:txBody>
      </p:sp>
      <p:sp>
        <p:nvSpPr>
          <p:cNvPr id="16" name="矩形 25">
            <a:extLst>
              <a:ext uri="{FF2B5EF4-FFF2-40B4-BE49-F238E27FC236}">
                <a16:creationId xmlns:a16="http://schemas.microsoft.com/office/drawing/2014/main" id="{8F763A29-CFA7-189D-8294-92A3597BEDAF}"/>
              </a:ext>
            </a:extLst>
          </p:cNvPr>
          <p:cNvSpPr/>
          <p:nvPr/>
        </p:nvSpPr>
        <p:spPr>
          <a:xfrm>
            <a:off x="10134714" y="3309145"/>
            <a:ext cx="800100" cy="3159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sz="14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S</a:t>
            </a:r>
            <a:endParaRPr lang="en-US" altLang="zh-CN" sz="14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26">
            <a:extLst>
              <a:ext uri="{FF2B5EF4-FFF2-40B4-BE49-F238E27FC236}">
                <a16:creationId xmlns:a16="http://schemas.microsoft.com/office/drawing/2014/main" id="{519FDCFC-DFEE-B4B4-13F3-A5CEA244037B}"/>
              </a:ext>
            </a:extLst>
          </p:cNvPr>
          <p:cNvSpPr txBox="1"/>
          <p:nvPr/>
        </p:nvSpPr>
        <p:spPr>
          <a:xfrm>
            <a:off x="8077870" y="3605444"/>
            <a:ext cx="170973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6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18" name="文本框 27">
            <a:extLst>
              <a:ext uri="{FF2B5EF4-FFF2-40B4-BE49-F238E27FC236}">
                <a16:creationId xmlns:a16="http://schemas.microsoft.com/office/drawing/2014/main" id="{63F11534-6B2A-55C4-4542-B64B2B57AC6F}"/>
              </a:ext>
            </a:extLst>
          </p:cNvPr>
          <p:cNvSpPr txBox="1"/>
          <p:nvPr/>
        </p:nvSpPr>
        <p:spPr>
          <a:xfrm>
            <a:off x="9679895" y="3605444"/>
            <a:ext cx="170973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.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6A7DB1-5226-38E8-7834-CC65975ABE35}"/>
              </a:ext>
            </a:extLst>
          </p:cNvPr>
          <p:cNvSpPr txBox="1"/>
          <p:nvPr/>
        </p:nvSpPr>
        <p:spPr>
          <a:xfrm>
            <a:off x="8067410" y="4347797"/>
            <a:ext cx="34335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获益与临床获益一致</a:t>
            </a:r>
          </a:p>
        </p:txBody>
      </p:sp>
      <p:sp>
        <p:nvSpPr>
          <p:cNvPr id="27" name="矩形 569">
            <a:extLst>
              <a:ext uri="{FF2B5EF4-FFF2-40B4-BE49-F238E27FC236}">
                <a16:creationId xmlns:a16="http://schemas.microsoft.com/office/drawing/2014/main" id="{4EFC589E-EAE8-C423-5AEB-3D8472B6D7B2}"/>
              </a:ext>
            </a:extLst>
          </p:cNvPr>
          <p:cNvSpPr/>
          <p:nvPr/>
        </p:nvSpPr>
        <p:spPr>
          <a:xfrm>
            <a:off x="8532689" y="4757642"/>
            <a:ext cx="800100" cy="3159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S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</p:txBody>
      </p:sp>
      <p:sp>
        <p:nvSpPr>
          <p:cNvPr id="28" name="矩形 572">
            <a:extLst>
              <a:ext uri="{FF2B5EF4-FFF2-40B4-BE49-F238E27FC236}">
                <a16:creationId xmlns:a16="http://schemas.microsoft.com/office/drawing/2014/main" id="{03D25337-375E-710F-CF7F-223B5A9F39D1}"/>
              </a:ext>
            </a:extLst>
          </p:cNvPr>
          <p:cNvSpPr/>
          <p:nvPr/>
        </p:nvSpPr>
        <p:spPr>
          <a:xfrm>
            <a:off x="9567542" y="4791092"/>
            <a:ext cx="1934444" cy="2490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控制率（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CR</a:t>
            </a:r>
            <a:r>
              <a:rPr lang="zh-CN" altLang="en-US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4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</p:txBody>
      </p:sp>
      <p:sp>
        <p:nvSpPr>
          <p:cNvPr id="29" name="文本框 573">
            <a:extLst>
              <a:ext uri="{FF2B5EF4-FFF2-40B4-BE49-F238E27FC236}">
                <a16:creationId xmlns:a16="http://schemas.microsoft.com/office/drawing/2014/main" id="{A48F4952-DF6A-50F4-FB0E-45982E93960E}"/>
              </a:ext>
            </a:extLst>
          </p:cNvPr>
          <p:cNvSpPr txBox="1"/>
          <p:nvPr/>
        </p:nvSpPr>
        <p:spPr>
          <a:xfrm>
            <a:off x="9963050" y="5052815"/>
            <a:ext cx="1143429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6.9%</a:t>
            </a:r>
            <a:endParaRPr lang="zh-CN" altLang="en-US" sz="24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86">
            <a:extLst>
              <a:ext uri="{FF2B5EF4-FFF2-40B4-BE49-F238E27FC236}">
                <a16:creationId xmlns:a16="http://schemas.microsoft.com/office/drawing/2014/main" id="{6F8B8897-5AE6-3180-C033-6E031CCEF859}"/>
              </a:ext>
            </a:extLst>
          </p:cNvPr>
          <p:cNvSpPr txBox="1"/>
          <p:nvPr/>
        </p:nvSpPr>
        <p:spPr>
          <a:xfrm>
            <a:off x="8262815" y="5062105"/>
            <a:ext cx="1339849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.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638E78C-82B8-7551-C87D-1E217B20A832}"/>
              </a:ext>
            </a:extLst>
          </p:cNvPr>
          <p:cNvSpPr txBox="1"/>
          <p:nvPr/>
        </p:nvSpPr>
        <p:spPr>
          <a:xfrm>
            <a:off x="458735" y="6273372"/>
            <a:ext cx="112252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释</a:t>
            </a:r>
            <a:r>
              <a:rPr lang="en-US" altLang="zh-CN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该间接比较分析比较莫博赛替尼和真实世界其他治疗方案（加权）治疗铂类经治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疗效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fr-FR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ristopoulos</a:t>
            </a:r>
            <a:r>
              <a:rPr lang="fr-FR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P, et al. Lung Cancer, 2023, 179: 107191;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.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.S. Ramalingam, et al. 2022 ESMO Poster 988P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 Data on file; 4. G 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untziog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et al. WCLC 2022. EP 08.02.060</a:t>
            </a:r>
            <a:endParaRPr lang="zh-CN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8D1DCF96-EF3B-6731-0C81-C0EE083F3E6D}"/>
              </a:ext>
            </a:extLst>
          </p:cNvPr>
          <p:cNvGrpSpPr/>
          <p:nvPr/>
        </p:nvGrpSpPr>
        <p:grpSpPr>
          <a:xfrm>
            <a:off x="891928" y="4568825"/>
            <a:ext cx="2732088" cy="708025"/>
            <a:chOff x="934671" y="2454275"/>
            <a:chExt cx="2732470" cy="707886"/>
          </a:xfrm>
        </p:grpSpPr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CF73040B-676B-5C7F-4B59-F26E6F203DCB}"/>
                </a:ext>
              </a:extLst>
            </p:cNvPr>
            <p:cNvSpPr txBox="1"/>
            <p:nvPr/>
          </p:nvSpPr>
          <p:spPr>
            <a:xfrm>
              <a:off x="1119200" y="2454275"/>
              <a:ext cx="2547941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大幅突破传统治疗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低应答率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等腰三角形 81">
              <a:extLst>
                <a:ext uri="{FF2B5EF4-FFF2-40B4-BE49-F238E27FC236}">
                  <a16:creationId xmlns:a16="http://schemas.microsoft.com/office/drawing/2014/main" id="{F5B1B466-2759-0FAD-3632-B5D35BACCDA4}"/>
                </a:ext>
              </a:extLst>
            </p:cNvPr>
            <p:cNvSpPr/>
            <p:nvPr/>
          </p:nvSpPr>
          <p:spPr>
            <a:xfrm rot="5400000">
              <a:off x="919163" y="2561538"/>
              <a:ext cx="219930" cy="188913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97" name="组合 96">
            <a:extLst>
              <a:ext uri="{FF2B5EF4-FFF2-40B4-BE49-F238E27FC236}">
                <a16:creationId xmlns:a16="http://schemas.microsoft.com/office/drawing/2014/main" id="{47BC9F88-D2BC-6748-B982-C115D1EFE54B}"/>
              </a:ext>
            </a:extLst>
          </p:cNvPr>
          <p:cNvGrpSpPr/>
          <p:nvPr/>
        </p:nvGrpSpPr>
        <p:grpSpPr>
          <a:xfrm>
            <a:off x="3844131" y="5247063"/>
            <a:ext cx="3157538" cy="246063"/>
            <a:chOff x="2156148" y="2838673"/>
            <a:chExt cx="3157961" cy="246221"/>
          </a:xfrm>
        </p:grpSpPr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10276FDF-BF1C-9DC4-639D-E7AE4876D087}"/>
                </a:ext>
              </a:extLst>
            </p:cNvPr>
            <p:cNvSpPr/>
            <p:nvPr/>
          </p:nvSpPr>
          <p:spPr>
            <a:xfrm>
              <a:off x="2156148" y="2902283"/>
              <a:ext cx="219959" cy="119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文本框 98">
              <a:extLst>
                <a:ext uri="{FF2B5EF4-FFF2-40B4-BE49-F238E27FC236}">
                  <a16:creationId xmlns:a16="http://schemas.microsoft.com/office/drawing/2014/main" id="{A3FA9E5D-8FF6-BF8C-3421-8ECF6128A56B}"/>
                </a:ext>
              </a:extLst>
            </p:cNvPr>
            <p:cNvSpPr txBox="1"/>
            <p:nvPr/>
          </p:nvSpPr>
          <p:spPr>
            <a:xfrm>
              <a:off x="2319961" y="2838673"/>
              <a:ext cx="154122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莫博赛替尼</a:t>
              </a:r>
            </a:p>
          </p:txBody>
        </p:sp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1A1A8EDA-2BD0-200D-ED98-7A4D641BE74C}"/>
                </a:ext>
              </a:extLst>
            </p:cNvPr>
            <p:cNvSpPr/>
            <p:nvPr/>
          </p:nvSpPr>
          <p:spPr>
            <a:xfrm>
              <a:off x="3291898" y="2902283"/>
              <a:ext cx="219959" cy="119000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文本框 100">
              <a:extLst>
                <a:ext uri="{FF2B5EF4-FFF2-40B4-BE49-F238E27FC236}">
                  <a16:creationId xmlns:a16="http://schemas.microsoft.com/office/drawing/2014/main" id="{967F145B-B0DE-D723-A9C7-9A6A14033DD9}"/>
                </a:ext>
              </a:extLst>
            </p:cNvPr>
            <p:cNvSpPr txBox="1"/>
            <p:nvPr/>
          </p:nvSpPr>
          <p:spPr>
            <a:xfrm>
              <a:off x="3478201" y="2838673"/>
              <a:ext cx="18359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altLang="en-US" sz="1000">
                  <a:latin typeface="微软雅黑" panose="020B0503020204020204" pitchFamily="34" charset="-122"/>
                  <a:ea typeface="微软雅黑" panose="020B0503020204020204" pitchFamily="34" charset="-122"/>
                </a:rPr>
                <a:t>真实世界其他治疗</a:t>
              </a:r>
              <a:r>
                <a:rPr lang="zh-CN" altLang="en-US" sz="1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方案（加权）</a:t>
              </a:r>
            </a:p>
          </p:txBody>
        </p:sp>
      </p:grp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33A2E890-6ACF-4869-36AA-26B5153DF27B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3636963" y="2344738"/>
          <a:ext cx="2482850" cy="760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62" name="Chart 3">
            <a:extLst>
              <a:ext uri="{FF2B5EF4-FFF2-40B4-BE49-F238E27FC236}">
                <a16:creationId xmlns:a16="http://schemas.microsoft.com/office/drawing/2014/main" id="{1BB9BCD5-C562-2A80-E917-1889E0A98B2C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3422650" y="3144838"/>
          <a:ext cx="2913063" cy="127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6" name="文本框 25">
            <a:extLst>
              <a:ext uri="{FF2B5EF4-FFF2-40B4-BE49-F238E27FC236}">
                <a16:creationId xmlns:a16="http://schemas.microsoft.com/office/drawing/2014/main" id="{3DCA70B9-B68D-7E81-1662-B3ACD9992EC2}"/>
              </a:ext>
            </a:extLst>
          </p:cNvPr>
          <p:cNvSpPr txBox="1"/>
          <p:nvPr/>
        </p:nvSpPr>
        <p:spPr>
          <a:xfrm>
            <a:off x="6197600" y="2655888"/>
            <a:ext cx="804863" cy="3460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100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HR=0.28</a:t>
            </a:r>
            <a:endParaRPr kumimoji="0" lang="en-US" altLang="zh-CN" sz="100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+mn-lt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P</a:t>
            </a:r>
            <a:r>
              <a:rPr lang="zh-CN" altLang="en-US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＜</a:t>
            </a:r>
            <a:r>
              <a:rPr lang="en-US" altLang="zh-CN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0.0001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D963C9A-0700-1616-954A-0C87508AC95D}"/>
              </a:ext>
            </a:extLst>
          </p:cNvPr>
          <p:cNvSpPr txBox="1"/>
          <p:nvPr/>
        </p:nvSpPr>
        <p:spPr>
          <a:xfrm>
            <a:off x="6197600" y="3716338"/>
            <a:ext cx="804863" cy="34607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100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HR=0.42</a:t>
            </a:r>
            <a:endParaRPr kumimoji="0" lang="en-US" altLang="zh-CN" sz="100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+mn-lt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zh-CN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P=</a:t>
            </a:r>
            <a:r>
              <a:rPr lang="en-US" altLang="zh-CN" sz="1000" b="1" dirty="0">
                <a:solidFill>
                  <a:srgbClr val="4C4948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0.0035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0ADE6957-563E-1339-9E9E-4E234BA98D91}"/>
              </a:ext>
            </a:extLst>
          </p:cNvPr>
          <p:cNvGrpSpPr/>
          <p:nvPr/>
        </p:nvGrpSpPr>
        <p:grpSpPr>
          <a:xfrm>
            <a:off x="891928" y="2495550"/>
            <a:ext cx="2732088" cy="628650"/>
            <a:chOff x="934671" y="3668713"/>
            <a:chExt cx="2732470" cy="629021"/>
          </a:xfrm>
        </p:grpSpPr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7521E3C9-A06B-C410-5822-58E879CA7933}"/>
                </a:ext>
              </a:extLst>
            </p:cNvPr>
            <p:cNvSpPr txBox="1"/>
            <p:nvPr/>
          </p:nvSpPr>
          <p:spPr>
            <a:xfrm>
              <a:off x="1119200" y="3668713"/>
              <a:ext cx="2547941" cy="4000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2000" b="1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mPFS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延长近</a:t>
              </a:r>
              <a:r>
                <a:rPr lang="en-US" altLang="zh-CN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0%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B93326B9-3F6D-5557-D7AA-08DDCF63DD4A}"/>
                </a:ext>
              </a:extLst>
            </p:cNvPr>
            <p:cNvSpPr txBox="1"/>
            <p:nvPr/>
          </p:nvSpPr>
          <p:spPr>
            <a:xfrm>
              <a:off x="1119200" y="3989759"/>
              <a:ext cx="2084388" cy="3079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疾病进展风险降低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2%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等腰三角形 37">
              <a:extLst>
                <a:ext uri="{FF2B5EF4-FFF2-40B4-BE49-F238E27FC236}">
                  <a16:creationId xmlns:a16="http://schemas.microsoft.com/office/drawing/2014/main" id="{EF998CC4-2F34-C40F-7B5A-AD2CF9424CC7}"/>
                </a:ext>
              </a:extLst>
            </p:cNvPr>
            <p:cNvSpPr/>
            <p:nvPr/>
          </p:nvSpPr>
          <p:spPr>
            <a:xfrm rot="5400000">
              <a:off x="919163" y="3799464"/>
              <a:ext cx="219930" cy="188913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673DD05E-F23E-EA7C-E828-E8914EAEF703}"/>
              </a:ext>
            </a:extLst>
          </p:cNvPr>
          <p:cNvGrpSpPr/>
          <p:nvPr/>
        </p:nvGrpSpPr>
        <p:grpSpPr>
          <a:xfrm>
            <a:off x="891928" y="3575050"/>
            <a:ext cx="2727325" cy="627063"/>
            <a:chOff x="940228" y="4718050"/>
            <a:chExt cx="2726913" cy="626945"/>
          </a:xfrm>
        </p:grpSpPr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088D9A19-1649-021F-55C7-9DD2A48FB310}"/>
                </a:ext>
              </a:extLst>
            </p:cNvPr>
            <p:cNvSpPr txBox="1"/>
            <p:nvPr/>
          </p:nvSpPr>
          <p:spPr>
            <a:xfrm>
              <a:off x="1119200" y="4718050"/>
              <a:ext cx="2547941" cy="4000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2000" b="1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mOS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延长超</a:t>
              </a:r>
              <a:r>
                <a:rPr lang="en-US" altLang="zh-CN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00%</a:t>
              </a: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58FD7A93-A5AF-862B-C555-1448605063DB}"/>
                </a:ext>
              </a:extLst>
            </p:cNvPr>
            <p:cNvSpPr txBox="1"/>
            <p:nvPr/>
          </p:nvSpPr>
          <p:spPr>
            <a:xfrm>
              <a:off x="1119200" y="5038607"/>
              <a:ext cx="2084388" cy="306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死亡风险降低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8%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等腰三角形 43">
              <a:extLst>
                <a:ext uri="{FF2B5EF4-FFF2-40B4-BE49-F238E27FC236}">
                  <a16:creationId xmlns:a16="http://schemas.microsoft.com/office/drawing/2014/main" id="{20504550-A0E7-D503-B6FE-10A705149667}"/>
                </a:ext>
              </a:extLst>
            </p:cNvPr>
            <p:cNvSpPr/>
            <p:nvPr/>
          </p:nvSpPr>
          <p:spPr>
            <a:xfrm rot="5400000">
              <a:off x="925513" y="4839600"/>
              <a:ext cx="219930" cy="190500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3855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E5FE8F-45A2-4D40-9A88-9C32614149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220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98" imgH="499" progId="TCLayout.ActiveDocument.1">
                  <p:embed/>
                </p:oleObj>
              </mc:Choice>
              <mc:Fallback>
                <p:oleObj name="think-cell 幻灯片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1E5FE8F-45A2-4D40-9A88-9C32614149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2" name="矩形: 圆角 1151">
            <a:extLst>
              <a:ext uri="{FF2B5EF4-FFF2-40B4-BE49-F238E27FC236}">
                <a16:creationId xmlns:a16="http://schemas.microsoft.com/office/drawing/2014/main" id="{02F0763D-2EDA-46D5-42E4-E980B421BCE5}"/>
              </a:ext>
            </a:extLst>
          </p:cNvPr>
          <p:cNvSpPr/>
          <p:nvPr/>
        </p:nvSpPr>
        <p:spPr>
          <a:xfrm>
            <a:off x="527051" y="1417684"/>
            <a:ext cx="7085957" cy="4625244"/>
          </a:xfrm>
          <a:prstGeom prst="roundRect">
            <a:avLst>
              <a:gd name="adj" fmla="val 2652"/>
            </a:avLst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56" name="矩形: 圆角 1155">
            <a:extLst>
              <a:ext uri="{FF2B5EF4-FFF2-40B4-BE49-F238E27FC236}">
                <a16:creationId xmlns:a16="http://schemas.microsoft.com/office/drawing/2014/main" id="{2D545096-DF57-7006-BC76-9712D1EE3EDA}"/>
              </a:ext>
            </a:extLst>
          </p:cNvPr>
          <p:cNvSpPr/>
          <p:nvPr/>
        </p:nvSpPr>
        <p:spPr>
          <a:xfrm>
            <a:off x="7802895" y="1417685"/>
            <a:ext cx="3884283" cy="4625244"/>
          </a:xfrm>
          <a:prstGeom prst="roundRect">
            <a:avLst>
              <a:gd name="adj" fmla="val 2652"/>
            </a:avLst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28500838-D242-BBFC-ACA6-0A5AAB225E74}"/>
              </a:ext>
            </a:extLst>
          </p:cNvPr>
          <p:cNvSpPr/>
          <p:nvPr/>
        </p:nvSpPr>
        <p:spPr>
          <a:xfrm>
            <a:off x="8998125" y="1063752"/>
            <a:ext cx="1493823" cy="681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A2202046-6557-9078-5C34-CFF3AD575C42}"/>
              </a:ext>
            </a:extLst>
          </p:cNvPr>
          <p:cNvSpPr/>
          <p:nvPr/>
        </p:nvSpPr>
        <p:spPr>
          <a:xfrm>
            <a:off x="3031863" y="1063752"/>
            <a:ext cx="2134124" cy="6816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灯片编号占位符 2">
            <a:extLst>
              <a:ext uri="{FF2B5EF4-FFF2-40B4-BE49-F238E27FC236}">
                <a16:creationId xmlns:a16="http://schemas.microsoft.com/office/drawing/2014/main" id="{2D23A2E9-6B07-93BD-3EFD-6CEC331DA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9956" y="6623410"/>
            <a:ext cx="252000" cy="196131"/>
          </a:xfrm>
        </p:spPr>
        <p:txBody>
          <a:bodyPr/>
          <a:lstStyle/>
          <a:p>
            <a:pPr algn="ctr"/>
            <a:fld id="{84174834-AE19-4E6F-B9DB-370160A47D1E}" type="slidenum">
              <a:rPr lang="zh-CN" altLang="en-US" smtClean="0"/>
              <a:pPr algn="ctr"/>
              <a:t>7</a:t>
            </a:fld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F52C71F-E739-4349-102B-474C5B1D23A2}"/>
              </a:ext>
            </a:extLst>
          </p:cNvPr>
          <p:cNvSpPr txBox="1"/>
          <p:nvPr/>
        </p:nvSpPr>
        <p:spPr>
          <a:xfrm>
            <a:off x="875237" y="1819612"/>
            <a:ext cx="6389585" cy="968598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/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南最高级别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推荐，且是唯一的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Ⅰ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诊疗指南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莫博赛替尼用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后线治疗（</a:t>
            </a:r>
            <a:r>
              <a:rPr lang="en-US" altLang="zh-CN" sz="1400">
                <a:latin typeface="微软雅黑" panose="020B0503020204020204" pitchFamily="34" charset="-122"/>
                <a:ea typeface="微软雅黑" panose="020B0503020204020204" pitchFamily="34" charset="-122"/>
              </a:rPr>
              <a:t>Ⅰ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）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122426EA-6156-3C99-637C-F21BDD4D27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466"/>
          <a:stretch/>
        </p:blipFill>
        <p:spPr bwMode="auto">
          <a:xfrm>
            <a:off x="3932585" y="1203389"/>
            <a:ext cx="1006422" cy="40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948D5FE2-F62B-1C18-A6C7-C6E1EC1BF03D}"/>
              </a:ext>
            </a:extLst>
          </p:cNvPr>
          <p:cNvSpPr txBox="1"/>
          <p:nvPr/>
        </p:nvSpPr>
        <p:spPr>
          <a:xfrm>
            <a:off x="7948697" y="2912584"/>
            <a:ext cx="3592678" cy="1635448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/>
          <a:p>
            <a:pPr>
              <a:lnSpc>
                <a:spcPts val="2400"/>
              </a:lnSpc>
            </a:pP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CCN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南唯一推荐的已在国内获批的药物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国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CCN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指南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023 V3)》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莫博赛替尼用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 NSCLC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线系统治疗进展后的治疗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pic>
        <p:nvPicPr>
          <p:cNvPr id="27" name="Picture 4" descr="NCCN">
            <a:extLst>
              <a:ext uri="{FF2B5EF4-FFF2-40B4-BE49-F238E27FC236}">
                <a16:creationId xmlns:a16="http://schemas.microsoft.com/office/drawing/2014/main" id="{A3B18992-2AE7-0281-F89F-BB3548FE45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840"/>
          <a:stretch/>
        </p:blipFill>
        <p:spPr bwMode="auto">
          <a:xfrm>
            <a:off x="9922062" y="1184601"/>
            <a:ext cx="453349" cy="439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文本框 28">
            <a:extLst>
              <a:ext uri="{FF2B5EF4-FFF2-40B4-BE49-F238E27FC236}">
                <a16:creationId xmlns:a16="http://schemas.microsoft.com/office/drawing/2014/main" id="{5636E955-0FBF-4F39-36BD-F21B6F3AF3D4}"/>
              </a:ext>
            </a:extLst>
          </p:cNvPr>
          <p:cNvSpPr txBox="1"/>
          <p:nvPr/>
        </p:nvSpPr>
        <p:spPr>
          <a:xfrm>
            <a:off x="875237" y="3945697"/>
            <a:ext cx="6389585" cy="1019895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>
            <a:defPPr>
              <a:defRPr lang="zh-CN"/>
            </a:defPPr>
            <a:lvl1pPr>
              <a:lnSpc>
                <a:spcPts val="2000"/>
              </a:lnSpc>
              <a:spcBef>
                <a:spcPts val="300"/>
              </a:spcBef>
              <a:defRPr sz="16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ts val="2400"/>
              </a:lnSpc>
            </a:pPr>
            <a:r>
              <a:rPr lang="en-US" altLang="zh-CN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家共识唯一的优选推荐</a:t>
            </a:r>
            <a:r>
              <a:rPr lang="zh-CN" altLang="en-US" dirty="0">
                <a:solidFill>
                  <a:srgbClr val="C00000"/>
                </a:solidFill>
              </a:rPr>
              <a:t>，认可莫博赛替尼填补临床空白</a:t>
            </a:r>
            <a:endParaRPr lang="zh-CN" altLang="en-US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400"/>
              </a:lnSpc>
            </a:pPr>
            <a:r>
              <a:rPr lang="en-US" altLang="zh-CN" sz="1400" b="0" dirty="0"/>
              <a:t>《EGFR ex20ins NSCLC</a:t>
            </a:r>
            <a:r>
              <a:rPr lang="zh-CN" altLang="en-US" sz="1400" b="0" dirty="0"/>
              <a:t>规范化诊疗中国专家共识（</a:t>
            </a:r>
            <a:r>
              <a:rPr lang="en-US" altLang="zh-CN" sz="1400" b="0" dirty="0"/>
              <a:t>2023</a:t>
            </a:r>
            <a:r>
              <a:rPr lang="zh-CN" altLang="en-US" sz="1400" b="0" dirty="0"/>
              <a:t>）</a:t>
            </a:r>
            <a:r>
              <a:rPr lang="en-US" altLang="zh-CN" sz="1400" b="0" dirty="0"/>
              <a:t>》</a:t>
            </a:r>
            <a:r>
              <a:rPr lang="zh-CN" altLang="en-US" sz="1400" b="0" dirty="0"/>
              <a:t>将莫博赛替尼列为</a:t>
            </a:r>
            <a:r>
              <a:rPr lang="en-US" altLang="zh-CN" sz="1400" b="0" dirty="0"/>
              <a:t>EGFR ex20ins NSCLC</a:t>
            </a:r>
            <a:r>
              <a:rPr lang="zh-CN" altLang="en-US" sz="1400" b="0" dirty="0"/>
              <a:t>后线治疗的优选推荐</a:t>
            </a:r>
            <a:r>
              <a:rPr lang="en-US" altLang="zh-CN" sz="1400" b="0" baseline="30000" dirty="0"/>
              <a:t>2</a:t>
            </a:r>
          </a:p>
        </p:txBody>
      </p:sp>
      <p:sp>
        <p:nvSpPr>
          <p:cNvPr id="1160" name="矩形 1159">
            <a:extLst>
              <a:ext uri="{FF2B5EF4-FFF2-40B4-BE49-F238E27FC236}">
                <a16:creationId xmlns:a16="http://schemas.microsoft.com/office/drawing/2014/main" id="{AB945816-0459-8882-D049-E0A85ACA815E}"/>
              </a:ext>
            </a:extLst>
          </p:cNvPr>
          <p:cNvSpPr/>
          <p:nvPr/>
        </p:nvSpPr>
        <p:spPr>
          <a:xfrm>
            <a:off x="773959" y="2544092"/>
            <a:ext cx="6593494" cy="786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lnSpc>
                <a:spcPts val="2400"/>
              </a:lnSpc>
              <a:spcBef>
                <a:spcPts val="600"/>
              </a:spcBef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zh-CN" altLang="en-US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Picture 8">
            <a:extLst>
              <a:ext uri="{FF2B5EF4-FFF2-40B4-BE49-F238E27FC236}">
                <a16:creationId xmlns:a16="http://schemas.microsoft.com/office/drawing/2014/main" id="{76D79684-CBC2-357E-E395-FC6BBB4BB6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0" r="8438"/>
          <a:stretch/>
        </p:blipFill>
        <p:spPr bwMode="auto">
          <a:xfrm>
            <a:off x="3251749" y="1198278"/>
            <a:ext cx="548305" cy="412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9C6A6148-C0E8-9596-72B4-A81CDB9CD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6306" y="1198278"/>
            <a:ext cx="619418" cy="412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直接连接符 681">
            <a:extLst>
              <a:ext uri="{FF2B5EF4-FFF2-40B4-BE49-F238E27FC236}">
                <a16:creationId xmlns:a16="http://schemas.microsoft.com/office/drawing/2014/main" id="{4CFF9402-DB33-0E53-F90E-2E5693110D97}"/>
              </a:ext>
            </a:extLst>
          </p:cNvPr>
          <p:cNvCxnSpPr>
            <a:cxnSpLocks/>
          </p:cNvCxnSpPr>
          <p:nvPr/>
        </p:nvCxnSpPr>
        <p:spPr>
          <a:xfrm>
            <a:off x="920029" y="3794300"/>
            <a:ext cx="6300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7">
            <a:extLst>
              <a:ext uri="{FF2B5EF4-FFF2-40B4-BE49-F238E27FC236}">
                <a16:creationId xmlns:a16="http://schemas.microsoft.com/office/drawing/2014/main" id="{EA6543ED-F9A1-3AA2-D4EA-DFB7280BA227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有效性</a:t>
            </a:r>
          </a:p>
        </p:txBody>
      </p:sp>
      <p:sp>
        <p:nvSpPr>
          <p:cNvPr id="21" name="标题 5">
            <a:extLst>
              <a:ext uri="{FF2B5EF4-FFF2-40B4-BE49-F238E27FC236}">
                <a16:creationId xmlns:a16="http://schemas.microsoft.com/office/drawing/2014/main" id="{FE44E9BA-9CFF-CF64-0C91-B81766EAC07B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1531105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kumimoji="0" lang="zh-CN" altLang="en-US" sz="3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莫博赛替尼获得中国</a:t>
            </a:r>
            <a:r>
              <a:rPr kumimoji="0" lang="en-US" altLang="zh-CN" sz="3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SCO</a:t>
            </a:r>
            <a:r>
              <a:rPr kumimoji="0" lang="zh-CN" altLang="en-US" sz="3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指南唯一的</a:t>
            </a:r>
            <a:r>
              <a:rPr kumimoji="0" lang="en-US" altLang="zh-CN" sz="3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Ⅰ</a:t>
            </a:r>
            <a:r>
              <a:rPr kumimoji="0" lang="zh-CN" altLang="en-US" sz="3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级推荐，国际权威指南推荐</a:t>
            </a:r>
            <a:endParaRPr lang="zh-CN" altLang="en-US" sz="3000" b="1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E200705D-E8B0-A2F3-73BC-0A0E92C088AB}"/>
              </a:ext>
            </a:extLst>
          </p:cNvPr>
          <p:cNvSpPr txBox="1"/>
          <p:nvPr/>
        </p:nvSpPr>
        <p:spPr>
          <a:xfrm>
            <a:off x="450852" y="6273372"/>
            <a:ext cx="1122521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释</a:t>
            </a:r>
            <a:r>
              <a:rPr lang="en-US" altLang="zh-CN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指截至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《CSCO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诊疗指南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; 2. 《EGFR ex20ins NSCLC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范化诊疗中国专家共识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《 NCCN guideline of NSCLC (2023 v3)》</a:t>
            </a:r>
          </a:p>
        </p:txBody>
      </p:sp>
      <p:graphicFrame>
        <p:nvGraphicFramePr>
          <p:cNvPr id="3" name="表格 15">
            <a:extLst>
              <a:ext uri="{FF2B5EF4-FFF2-40B4-BE49-F238E27FC236}">
                <a16:creationId xmlns:a16="http://schemas.microsoft.com/office/drawing/2014/main" id="{0AA276D9-F902-3670-BE5B-3B07FEC7C7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009985"/>
              </p:ext>
            </p:extLst>
          </p:nvPr>
        </p:nvGraphicFramePr>
        <p:xfrm>
          <a:off x="2039412" y="2834835"/>
          <a:ext cx="4061234" cy="776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3019324353"/>
                    </a:ext>
                  </a:extLst>
                </a:gridCol>
                <a:gridCol w="2261234">
                  <a:extLst>
                    <a:ext uri="{9D8B030D-6E8A-4147-A177-3AD203B41FA5}">
                      <a16:colId xmlns:a16="http://schemas.microsoft.com/office/drawing/2014/main" val="1881465652"/>
                    </a:ext>
                  </a:extLst>
                </a:gridCol>
              </a:tblGrid>
              <a:tr h="25626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期</a:t>
                      </a:r>
                    </a:p>
                  </a:txBody>
                  <a:tcPr marL="0" marR="0" anchor="ctr">
                    <a:solidFill>
                      <a:srgbClr val="7FAA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Ⅰ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marL="0" marR="0" anchor="ctr">
                    <a:solidFill>
                      <a:srgbClr val="7FAA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874382"/>
                  </a:ext>
                </a:extLst>
              </a:tr>
              <a:tr h="5022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V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期</a:t>
                      </a:r>
                      <a:r>
                        <a:rPr lang="en-US" altLang="zh-CN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GFR20</a:t>
                      </a:r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外显子</a:t>
                      </a:r>
                      <a:endParaRPr lang="en-US" altLang="zh-CN" sz="12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插入突变后线治疗</a:t>
                      </a:r>
                    </a:p>
                  </a:txBody>
                  <a:tcPr marL="0" marR="0" anchor="ctr">
                    <a:solidFill>
                      <a:srgbClr val="7EAB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莫博赛替尼 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3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anchor="ctr">
                    <a:solidFill>
                      <a:srgbClr val="DBEF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6237410"/>
                  </a:ext>
                </a:extLst>
              </a:tr>
            </a:tbl>
          </a:graphicData>
        </a:graphic>
      </p:graphicFrame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D5A1CAAE-DD75-8F99-84E4-7CFF111131E6}"/>
              </a:ext>
            </a:extLst>
          </p:cNvPr>
          <p:cNvSpPr/>
          <p:nvPr/>
        </p:nvSpPr>
        <p:spPr>
          <a:xfrm>
            <a:off x="3822057" y="2806616"/>
            <a:ext cx="2287102" cy="833048"/>
          </a:xfrm>
          <a:prstGeom prst="roundRect">
            <a:avLst>
              <a:gd name="adj" fmla="val 6501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0176515-F3B4-B2F4-4CF6-265D3C3019E1}"/>
              </a:ext>
            </a:extLst>
          </p:cNvPr>
          <p:cNvSpPr txBox="1"/>
          <p:nvPr/>
        </p:nvSpPr>
        <p:spPr>
          <a:xfrm>
            <a:off x="1067567" y="5025140"/>
            <a:ext cx="6004924" cy="812422"/>
          </a:xfrm>
          <a:prstGeom prst="rect">
            <a:avLst/>
          </a:prstGeom>
          <a:noFill/>
          <a:ln w="12700">
            <a:solidFill>
              <a:srgbClr val="7FAAC2"/>
            </a:solidFill>
            <a:prstDash val="dash"/>
          </a:ln>
        </p:spPr>
        <p:txBody>
          <a:bodyPr wrap="square" lIns="180000" rIns="180000">
            <a:noAutofit/>
          </a:bodyPr>
          <a:lstStyle/>
          <a:p>
            <a:pPr>
              <a:lnSpc>
                <a:spcPts val="1800"/>
              </a:lnSpc>
            </a:pP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专家共识：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莫博赛替尼作为国内</a:t>
            </a:r>
            <a:r>
              <a:rPr lang="zh-CN" altLang="en-US" sz="1200" i="1">
                <a:latin typeface="微软雅黑" panose="020B0503020204020204" pitchFamily="34" charset="-122"/>
                <a:ea typeface="微软雅黑" panose="020B0503020204020204" pitchFamily="34" charset="-122"/>
              </a:rPr>
              <a:t>首个且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唯一获批口服靶向药，</a:t>
            </a:r>
            <a:r>
              <a:rPr lang="zh-CN" altLang="en-US" sz="1400" b="1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填补了临床空白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i="1">
                <a:latin typeface="微软雅黑" panose="020B0503020204020204" pitchFamily="34" charset="-122"/>
                <a:ea typeface="微软雅黑" panose="020B0503020204020204" pitchFamily="34" charset="-122"/>
              </a:rPr>
              <a:t>开启了该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领域靶向治疗的新纪元，为含铂化疗经治的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EGFR ex20ins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带来长期生存获益，推荐莫博赛替尼作为这类患者的治疗优选。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zh-CN" altLang="en-US" sz="1200" i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39905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57FD273A-4532-4454-86EF-2CA2D2460F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461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2" imgW="395" imgH="396" progId="TCLayout.ActiveDocument.1">
                  <p:embed/>
                </p:oleObj>
              </mc:Choice>
              <mc:Fallback>
                <p:oleObj name="think-cell 幻灯片" r:id="rId12" imgW="395" imgH="39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57FD273A-4532-4454-86EF-2CA2D2460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Chart 3">
            <a:extLst>
              <a:ext uri="{FF2B5EF4-FFF2-40B4-BE49-F238E27FC236}">
                <a16:creationId xmlns:a16="http://schemas.microsoft.com/office/drawing/2014/main" id="{45930097-4B8C-BAB6-9B17-4AA3CFED173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444847"/>
              </p:ext>
            </p:extLst>
          </p:nvPr>
        </p:nvGraphicFramePr>
        <p:xfrm>
          <a:off x="8297863" y="2728913"/>
          <a:ext cx="3244850" cy="154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239" name="テキスト プレースホルダ 2">
            <a:extLst>
              <a:ext uri="{FF2B5EF4-FFF2-40B4-BE49-F238E27FC236}">
                <a16:creationId xmlns:a16="http://schemas.microsoft.com/office/drawing/2014/main" id="{8E944956-D6C0-938F-DE77-392E24298D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010650" y="2570163"/>
            <a:ext cx="368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DACD63-E061-4F25-A8D4-566FAD5A3D64}" type="datetime'''咳''''''''''''''''''''''''''''''''嗽'''''''''''''''''''''''">
              <a:rPr kumimoji="0" lang="zh-CN" altLang="en-US" sz="14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pPr/>
              <a:t>咳嗽</a:t>
            </a:fld>
            <a:endParaRPr kumimoji="0"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微软雅黑" panose="020B0503020204020204" pitchFamily="34" charset="-122"/>
            </a:endParaRPr>
          </a:p>
        </p:txBody>
      </p:sp>
      <p:sp>
        <p:nvSpPr>
          <p:cNvPr id="7268" name="テキスト プレースホルダ 2">
            <a:extLst>
              <a:ext uri="{FF2B5EF4-FFF2-40B4-BE49-F238E27FC236}">
                <a16:creationId xmlns:a16="http://schemas.microsoft.com/office/drawing/2014/main" id="{59A47305-AFC2-D1E2-536D-C00FB696521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644188" y="2570163"/>
            <a:ext cx="723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006818-153B-4900-AA9C-EFB98E53FE9B}" type="datetime'''''''呼''吸''''''''''''''''''''困''''''''''''''''''''''''难'">
              <a:rPr kumimoji="0" lang="zh-CN" altLang="en-US" sz="14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pPr/>
              <a:t>呼吸困难</a:t>
            </a:fld>
            <a:endParaRPr kumimoji="0"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微软雅黑" panose="020B0503020204020204" pitchFamily="34" charset="-122"/>
            </a:endParaRPr>
          </a:p>
        </p:txBody>
      </p:sp>
      <p:sp>
        <p:nvSpPr>
          <p:cNvPr id="7265" name="テキスト プレースホルダ 2">
            <a:extLst>
              <a:ext uri="{FF2B5EF4-FFF2-40B4-BE49-F238E27FC236}">
                <a16:creationId xmlns:a16="http://schemas.microsoft.com/office/drawing/2014/main" id="{F74B873C-2284-0247-E5E9-BA68C445264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917113" y="2570163"/>
            <a:ext cx="3683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193A3D-DBAB-416E-B37A-8A7D1ADA74B0}" type="datetime'''''胸痛'''''''''''''''''''''''''''''''''">
              <a:rPr kumimoji="0" lang="zh-CN" altLang="en-US" sz="140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pPr/>
              <a:t>胸痛</a:t>
            </a:fld>
            <a:endParaRPr kumimoji="0"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微软雅黑" panose="020B0503020204020204" pitchFamily="34" charset="-122"/>
            </a:endParaRPr>
          </a:p>
        </p:txBody>
      </p:sp>
      <p:sp>
        <p:nvSpPr>
          <p:cNvPr id="7365" name="文本框 7364">
            <a:extLst>
              <a:ext uri="{FF2B5EF4-FFF2-40B4-BE49-F238E27FC236}">
                <a16:creationId xmlns:a16="http://schemas.microsoft.com/office/drawing/2014/main" id="{0F94BDF8-C542-6686-25D9-0BF3EA728B84}"/>
              </a:ext>
            </a:extLst>
          </p:cNvPr>
          <p:cNvSpPr txBox="1"/>
          <p:nvPr/>
        </p:nvSpPr>
        <p:spPr>
          <a:xfrm>
            <a:off x="8823325" y="4251325"/>
            <a:ext cx="782638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＜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001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66" name="文本框 7365">
            <a:extLst>
              <a:ext uri="{FF2B5EF4-FFF2-40B4-BE49-F238E27FC236}">
                <a16:creationId xmlns:a16="http://schemas.microsoft.com/office/drawing/2014/main" id="{73CF52C1-220D-F335-8A1C-7A6E61EA229A}"/>
              </a:ext>
            </a:extLst>
          </p:cNvPr>
          <p:cNvSpPr txBox="1"/>
          <p:nvPr/>
        </p:nvSpPr>
        <p:spPr>
          <a:xfrm>
            <a:off x="9728200" y="4105275"/>
            <a:ext cx="781050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＜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001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67" name="文本框 7366">
            <a:extLst>
              <a:ext uri="{FF2B5EF4-FFF2-40B4-BE49-F238E27FC236}">
                <a16:creationId xmlns:a16="http://schemas.microsoft.com/office/drawing/2014/main" id="{223B5A84-79E8-C46A-6020-C7A303721B38}"/>
              </a:ext>
            </a:extLst>
          </p:cNvPr>
          <p:cNvSpPr txBox="1"/>
          <p:nvPr/>
        </p:nvSpPr>
        <p:spPr>
          <a:xfrm>
            <a:off x="10628313" y="3450774"/>
            <a:ext cx="782638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 = 0.019</a:t>
            </a:r>
            <a:endParaRPr lang="zh-CN" altLang="en-US" sz="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71" name="文本框 7370">
            <a:extLst>
              <a:ext uri="{FF2B5EF4-FFF2-40B4-BE49-F238E27FC236}">
                <a16:creationId xmlns:a16="http://schemas.microsoft.com/office/drawing/2014/main" id="{6935B641-D51E-3B1F-9D97-BE8BD867CA98}"/>
              </a:ext>
            </a:extLst>
          </p:cNvPr>
          <p:cNvSpPr txBox="1"/>
          <p:nvPr/>
        </p:nvSpPr>
        <p:spPr>
          <a:xfrm>
            <a:off x="7135813" y="3317875"/>
            <a:ext cx="120173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肺癌症状评分较基线变化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76" name="文本框 7375">
            <a:extLst>
              <a:ext uri="{FF2B5EF4-FFF2-40B4-BE49-F238E27FC236}">
                <a16:creationId xmlns:a16="http://schemas.microsoft.com/office/drawing/2014/main" id="{F2F0F4AE-083A-BDB9-AF59-F1643B9DA8E2}"/>
              </a:ext>
            </a:extLst>
          </p:cNvPr>
          <p:cNvSpPr txBox="1"/>
          <p:nvPr/>
        </p:nvSpPr>
        <p:spPr>
          <a:xfrm>
            <a:off x="7135813" y="5245100"/>
            <a:ext cx="1201738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肺癌症状改善的</a:t>
            </a:r>
            <a:r>
              <a: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</a:rPr>
              <a:t>患者比例</a:t>
            </a:r>
            <a:r>
              <a:rPr lang="en-US" altLang="zh-CN" sz="1200" baseline="3000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76BF4899-3332-B7E7-D74E-B807B2EB1CF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21509291"/>
              </p:ext>
            </p:extLst>
          </p:nvPr>
        </p:nvGraphicFramePr>
        <p:xfrm>
          <a:off x="8709025" y="4799013"/>
          <a:ext cx="1001713" cy="100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7399" name="文本框 7398">
            <a:extLst>
              <a:ext uri="{FF2B5EF4-FFF2-40B4-BE49-F238E27FC236}">
                <a16:creationId xmlns:a16="http://schemas.microsoft.com/office/drawing/2014/main" id="{6AD36D43-39BD-76DC-AF08-E4554C45EA03}"/>
              </a:ext>
            </a:extLst>
          </p:cNvPr>
          <p:cNvSpPr txBox="1"/>
          <p:nvPr/>
        </p:nvSpPr>
        <p:spPr>
          <a:xfrm>
            <a:off x="8786813" y="5130800"/>
            <a:ext cx="852488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6.7%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516CF389-26EC-8E04-FD65-C53B5C31F6E2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79645658"/>
              </p:ext>
            </p:extLst>
          </p:nvPr>
        </p:nvGraphicFramePr>
        <p:xfrm>
          <a:off x="9647238" y="4799013"/>
          <a:ext cx="1001712" cy="100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7409" name="文本框 7408">
            <a:extLst>
              <a:ext uri="{FF2B5EF4-FFF2-40B4-BE49-F238E27FC236}">
                <a16:creationId xmlns:a16="http://schemas.microsoft.com/office/drawing/2014/main" id="{4BE3884A-5E74-8085-CEDD-8D42253D1101}"/>
              </a:ext>
            </a:extLst>
          </p:cNvPr>
          <p:cNvSpPr txBox="1"/>
          <p:nvPr/>
        </p:nvSpPr>
        <p:spPr>
          <a:xfrm>
            <a:off x="9723438" y="5130800"/>
            <a:ext cx="852488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8.9%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40F497A0-363C-6463-CE06-D41F1A1A9FF2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22339680"/>
              </p:ext>
            </p:extLst>
          </p:nvPr>
        </p:nvGraphicFramePr>
        <p:xfrm>
          <a:off x="10575925" y="4799013"/>
          <a:ext cx="1001713" cy="100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7415" name="文本框 7414">
            <a:extLst>
              <a:ext uri="{FF2B5EF4-FFF2-40B4-BE49-F238E27FC236}">
                <a16:creationId xmlns:a16="http://schemas.microsoft.com/office/drawing/2014/main" id="{776440AB-817C-9890-6A10-B351DC3B0A7A}"/>
              </a:ext>
            </a:extLst>
          </p:cNvPr>
          <p:cNvSpPr txBox="1"/>
          <p:nvPr/>
        </p:nvSpPr>
        <p:spPr>
          <a:xfrm>
            <a:off x="10663238" y="5130800"/>
            <a:ext cx="852488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4.4%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灯片编号占位符 2">
            <a:extLst>
              <a:ext uri="{FF2B5EF4-FFF2-40B4-BE49-F238E27FC236}">
                <a16:creationId xmlns:a16="http://schemas.microsoft.com/office/drawing/2014/main" id="{7F41FF48-EEA9-51EA-098E-15A1FAB81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1554" y="6623410"/>
            <a:ext cx="252000" cy="196131"/>
          </a:xfrm>
        </p:spPr>
        <p:txBody>
          <a:bodyPr/>
          <a:lstStyle/>
          <a:p>
            <a:pPr algn="ctr"/>
            <a:fld id="{84174834-AE19-4E6F-B9DB-370160A47D1E}" type="slidenum">
              <a:rPr lang="zh-CN" altLang="en-US" smtClean="0"/>
              <a:pPr algn="ctr"/>
              <a:t>8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F50D347-1D3E-915C-5BB7-88EE97A145AA}"/>
              </a:ext>
            </a:extLst>
          </p:cNvPr>
          <p:cNvSpPr txBox="1"/>
          <p:nvPr/>
        </p:nvSpPr>
        <p:spPr>
          <a:xfrm>
            <a:off x="7185026" y="3743325"/>
            <a:ext cx="1103313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sz="8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负值代表肺癌症状评分下降，症状改善</a:t>
            </a:r>
          </a:p>
        </p:txBody>
      </p:sp>
      <p:sp>
        <p:nvSpPr>
          <p:cNvPr id="7428" name="worker-career_89919">
            <a:extLst>
              <a:ext uri="{FF2B5EF4-FFF2-40B4-BE49-F238E27FC236}">
                <a16:creationId xmlns:a16="http://schemas.microsoft.com/office/drawing/2014/main" id="{B89F12B2-4A88-BA73-D2FD-C73ED7605707}"/>
              </a:ext>
            </a:extLst>
          </p:cNvPr>
          <p:cNvSpPr/>
          <p:nvPr/>
        </p:nvSpPr>
        <p:spPr>
          <a:xfrm>
            <a:off x="7596188" y="4914900"/>
            <a:ext cx="280988" cy="304800"/>
          </a:xfrm>
          <a:custGeom>
            <a:avLst/>
            <a:gdLst>
              <a:gd name="T0" fmla="*/ 2673 w 4933"/>
              <a:gd name="T1" fmla="*/ 2173 h 5347"/>
              <a:gd name="T2" fmla="*/ 4028 w 4933"/>
              <a:gd name="T3" fmla="*/ 719 h 5347"/>
              <a:gd name="T4" fmla="*/ 3999 w 4933"/>
              <a:gd name="T5" fmla="*/ 454 h 5347"/>
              <a:gd name="T6" fmla="*/ 4562 w 4933"/>
              <a:gd name="T7" fmla="*/ 412 h 5347"/>
              <a:gd name="T8" fmla="*/ 4640 w 4933"/>
              <a:gd name="T9" fmla="*/ 537 h 5347"/>
              <a:gd name="T10" fmla="*/ 4637 w 4933"/>
              <a:gd name="T11" fmla="*/ 547 h 5347"/>
              <a:gd name="T12" fmla="*/ 4432 w 4933"/>
              <a:gd name="T13" fmla="*/ 1153 h 5347"/>
              <a:gd name="T14" fmla="*/ 4327 w 4933"/>
              <a:gd name="T15" fmla="*/ 895 h 5347"/>
              <a:gd name="T16" fmla="*/ 2767 w 4933"/>
              <a:gd name="T17" fmla="*/ 2400 h 5347"/>
              <a:gd name="T18" fmla="*/ 528 w 4933"/>
              <a:gd name="T19" fmla="*/ 902 h 5347"/>
              <a:gd name="T20" fmla="*/ 1584 w 4933"/>
              <a:gd name="T21" fmla="*/ 4 h 5347"/>
              <a:gd name="T22" fmla="*/ 2065 w 4933"/>
              <a:gd name="T23" fmla="*/ 173 h 5347"/>
              <a:gd name="T24" fmla="*/ 1961 w 4933"/>
              <a:gd name="T25" fmla="*/ 1998 h 5347"/>
              <a:gd name="T26" fmla="*/ 1034 w 4933"/>
              <a:gd name="T27" fmla="*/ 1998 h 5347"/>
              <a:gd name="T28" fmla="*/ 1170 w 4933"/>
              <a:gd name="T29" fmla="*/ 1769 h 5347"/>
              <a:gd name="T30" fmla="*/ 2200 w 4933"/>
              <a:gd name="T31" fmla="*/ 912 h 5347"/>
              <a:gd name="T32" fmla="*/ 1246 w 4933"/>
              <a:gd name="T33" fmla="*/ 1004 h 5347"/>
              <a:gd name="T34" fmla="*/ 1227 w 4933"/>
              <a:gd name="T35" fmla="*/ 738 h 5347"/>
              <a:gd name="T36" fmla="*/ 1497 w 4933"/>
              <a:gd name="T37" fmla="*/ 265 h 5347"/>
              <a:gd name="T38" fmla="*/ 1170 w 4933"/>
              <a:gd name="T39" fmla="*/ 1769 h 5347"/>
              <a:gd name="T40" fmla="*/ 4933 w 4933"/>
              <a:gd name="T41" fmla="*/ 5219 h 5347"/>
              <a:gd name="T42" fmla="*/ 2564 w 4933"/>
              <a:gd name="T43" fmla="*/ 5347 h 5347"/>
              <a:gd name="T44" fmla="*/ 2426 w 4933"/>
              <a:gd name="T45" fmla="*/ 4122 h 5347"/>
              <a:gd name="T46" fmla="*/ 3434 w 4933"/>
              <a:gd name="T47" fmla="*/ 3987 h 5347"/>
              <a:gd name="T48" fmla="*/ 3573 w 4933"/>
              <a:gd name="T49" fmla="*/ 5080 h 5347"/>
              <a:gd name="T50" fmla="*/ 3986 w 4933"/>
              <a:gd name="T51" fmla="*/ 3520 h 5347"/>
              <a:gd name="T52" fmla="*/ 3386 w 4933"/>
              <a:gd name="T53" fmla="*/ 3632 h 5347"/>
              <a:gd name="T54" fmla="*/ 3120 w 4933"/>
              <a:gd name="T55" fmla="*/ 3632 h 5347"/>
              <a:gd name="T56" fmla="*/ 3246 w 4933"/>
              <a:gd name="T57" fmla="*/ 3253 h 5347"/>
              <a:gd name="T58" fmla="*/ 4253 w 4933"/>
              <a:gd name="T59" fmla="*/ 3392 h 5347"/>
              <a:gd name="T60" fmla="*/ 4666 w 4933"/>
              <a:gd name="T61" fmla="*/ 5080 h 5347"/>
              <a:gd name="T62" fmla="*/ 4066 w 4933"/>
              <a:gd name="T63" fmla="*/ 2853 h 5347"/>
              <a:gd name="T64" fmla="*/ 3933 w 4933"/>
              <a:gd name="T65" fmla="*/ 3029 h 5347"/>
              <a:gd name="T66" fmla="*/ 3800 w 4933"/>
              <a:gd name="T67" fmla="*/ 2720 h 5347"/>
              <a:gd name="T68" fmla="*/ 4799 w 4933"/>
              <a:gd name="T69" fmla="*/ 2587 h 5347"/>
              <a:gd name="T70" fmla="*/ 3306 w 4933"/>
              <a:gd name="T71" fmla="*/ 4253 h 5347"/>
              <a:gd name="T72" fmla="*/ 2693 w 4933"/>
              <a:gd name="T73" fmla="*/ 5080 h 5347"/>
              <a:gd name="T74" fmla="*/ 3306 w 4933"/>
              <a:gd name="T75" fmla="*/ 4253 h 5347"/>
              <a:gd name="T76" fmla="*/ 2704 w 4933"/>
              <a:gd name="T77" fmla="*/ 3382 h 5347"/>
              <a:gd name="T78" fmla="*/ 1505 w 4933"/>
              <a:gd name="T79" fmla="*/ 2400 h 5347"/>
              <a:gd name="T80" fmla="*/ 1502 w 4933"/>
              <a:gd name="T81" fmla="*/ 2400 h 5347"/>
              <a:gd name="T82" fmla="*/ 1498 w 4933"/>
              <a:gd name="T83" fmla="*/ 2400 h 5347"/>
              <a:gd name="T84" fmla="*/ 320 w 4933"/>
              <a:gd name="T85" fmla="*/ 3263 h 5347"/>
              <a:gd name="T86" fmla="*/ 36 w 4933"/>
              <a:gd name="T87" fmla="*/ 5071 h 5347"/>
              <a:gd name="T88" fmla="*/ 1904 w 4933"/>
              <a:gd name="T89" fmla="*/ 5120 h 5347"/>
              <a:gd name="T90" fmla="*/ 1904 w 4933"/>
              <a:gd name="T91" fmla="*/ 4853 h 5347"/>
              <a:gd name="T92" fmla="*/ 582 w 4933"/>
              <a:gd name="T93" fmla="*/ 3313 h 5347"/>
              <a:gd name="T94" fmla="*/ 2420 w 4933"/>
              <a:gd name="T95" fmla="*/ 3313 h 5347"/>
              <a:gd name="T96" fmla="*/ 2597 w 4933"/>
              <a:gd name="T97" fmla="*/ 3537 h 5347"/>
              <a:gd name="T98" fmla="*/ 1507 w 4933"/>
              <a:gd name="T99" fmla="*/ 3427 h 5347"/>
              <a:gd name="T100" fmla="*/ 1901 w 4933"/>
              <a:gd name="T101" fmla="*/ 3560 h 5347"/>
              <a:gd name="T102" fmla="*/ 1901 w 4933"/>
              <a:gd name="T103" fmla="*/ 3293 h 5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33" h="5347">
                <a:moveTo>
                  <a:pt x="2673" y="2361"/>
                </a:moveTo>
                <a:cubicBezTo>
                  <a:pt x="2621" y="2309"/>
                  <a:pt x="2621" y="2225"/>
                  <a:pt x="2673" y="2173"/>
                </a:cubicBezTo>
                <a:lnTo>
                  <a:pt x="4139" y="707"/>
                </a:lnTo>
                <a:lnTo>
                  <a:pt x="4028" y="719"/>
                </a:lnTo>
                <a:cubicBezTo>
                  <a:pt x="3955" y="727"/>
                  <a:pt x="3889" y="675"/>
                  <a:pt x="3881" y="601"/>
                </a:cubicBezTo>
                <a:cubicBezTo>
                  <a:pt x="3873" y="528"/>
                  <a:pt x="3926" y="462"/>
                  <a:pt x="3999" y="454"/>
                </a:cubicBezTo>
                <a:lnTo>
                  <a:pt x="4485" y="400"/>
                </a:lnTo>
                <a:cubicBezTo>
                  <a:pt x="4511" y="397"/>
                  <a:pt x="4538" y="400"/>
                  <a:pt x="4562" y="412"/>
                </a:cubicBezTo>
                <a:cubicBezTo>
                  <a:pt x="4610" y="435"/>
                  <a:pt x="4640" y="485"/>
                  <a:pt x="4640" y="537"/>
                </a:cubicBezTo>
                <a:lnTo>
                  <a:pt x="4640" y="537"/>
                </a:lnTo>
                <a:lnTo>
                  <a:pt x="4640" y="538"/>
                </a:lnTo>
                <a:cubicBezTo>
                  <a:pt x="4640" y="541"/>
                  <a:pt x="4637" y="544"/>
                  <a:pt x="4637" y="547"/>
                </a:cubicBezTo>
                <a:lnTo>
                  <a:pt x="4580" y="1035"/>
                </a:lnTo>
                <a:cubicBezTo>
                  <a:pt x="4572" y="1108"/>
                  <a:pt x="4506" y="1161"/>
                  <a:pt x="4432" y="1153"/>
                </a:cubicBezTo>
                <a:cubicBezTo>
                  <a:pt x="4359" y="1145"/>
                  <a:pt x="4307" y="1079"/>
                  <a:pt x="4315" y="1006"/>
                </a:cubicBezTo>
                <a:lnTo>
                  <a:pt x="4327" y="895"/>
                </a:lnTo>
                <a:lnTo>
                  <a:pt x="2861" y="2361"/>
                </a:lnTo>
                <a:cubicBezTo>
                  <a:pt x="2835" y="2387"/>
                  <a:pt x="2801" y="2400"/>
                  <a:pt x="2767" y="2400"/>
                </a:cubicBezTo>
                <a:cubicBezTo>
                  <a:pt x="2733" y="2400"/>
                  <a:pt x="2699" y="2387"/>
                  <a:pt x="2673" y="2361"/>
                </a:cubicBezTo>
                <a:close/>
                <a:moveTo>
                  <a:pt x="528" y="902"/>
                </a:moveTo>
                <a:cubicBezTo>
                  <a:pt x="550" y="331"/>
                  <a:pt x="1000" y="41"/>
                  <a:pt x="1431" y="2"/>
                </a:cubicBezTo>
                <a:cubicBezTo>
                  <a:pt x="1452" y="0"/>
                  <a:pt x="1557" y="1"/>
                  <a:pt x="1584" y="4"/>
                </a:cubicBezTo>
                <a:cubicBezTo>
                  <a:pt x="1716" y="18"/>
                  <a:pt x="1850" y="56"/>
                  <a:pt x="1971" y="119"/>
                </a:cubicBezTo>
                <a:cubicBezTo>
                  <a:pt x="1994" y="131"/>
                  <a:pt x="2057" y="167"/>
                  <a:pt x="2065" y="173"/>
                </a:cubicBezTo>
                <a:cubicBezTo>
                  <a:pt x="2288" y="320"/>
                  <a:pt x="2454" y="561"/>
                  <a:pt x="2467" y="902"/>
                </a:cubicBezTo>
                <a:cubicBezTo>
                  <a:pt x="2485" y="1397"/>
                  <a:pt x="2301" y="1796"/>
                  <a:pt x="1961" y="1998"/>
                </a:cubicBezTo>
                <a:cubicBezTo>
                  <a:pt x="1818" y="2083"/>
                  <a:pt x="1658" y="2125"/>
                  <a:pt x="1497" y="2125"/>
                </a:cubicBezTo>
                <a:cubicBezTo>
                  <a:pt x="1337" y="2125"/>
                  <a:pt x="1177" y="2083"/>
                  <a:pt x="1034" y="1998"/>
                </a:cubicBezTo>
                <a:cubicBezTo>
                  <a:pt x="694" y="1796"/>
                  <a:pt x="510" y="1397"/>
                  <a:pt x="528" y="902"/>
                </a:cubicBezTo>
                <a:close/>
                <a:moveTo>
                  <a:pt x="1170" y="1769"/>
                </a:moveTo>
                <a:cubicBezTo>
                  <a:pt x="1372" y="1889"/>
                  <a:pt x="1623" y="1889"/>
                  <a:pt x="1825" y="1769"/>
                </a:cubicBezTo>
                <a:cubicBezTo>
                  <a:pt x="2078" y="1618"/>
                  <a:pt x="2215" y="1306"/>
                  <a:pt x="2200" y="912"/>
                </a:cubicBezTo>
                <a:cubicBezTo>
                  <a:pt x="2194" y="740"/>
                  <a:pt x="2134" y="604"/>
                  <a:pt x="2043" y="502"/>
                </a:cubicBezTo>
                <a:cubicBezTo>
                  <a:pt x="1903" y="787"/>
                  <a:pt x="1609" y="977"/>
                  <a:pt x="1246" y="1004"/>
                </a:cubicBezTo>
                <a:cubicBezTo>
                  <a:pt x="1173" y="1009"/>
                  <a:pt x="1109" y="954"/>
                  <a:pt x="1104" y="880"/>
                </a:cubicBezTo>
                <a:cubicBezTo>
                  <a:pt x="1098" y="807"/>
                  <a:pt x="1153" y="743"/>
                  <a:pt x="1227" y="738"/>
                </a:cubicBezTo>
                <a:cubicBezTo>
                  <a:pt x="1457" y="721"/>
                  <a:pt x="1721" y="607"/>
                  <a:pt x="1823" y="342"/>
                </a:cubicBezTo>
                <a:cubicBezTo>
                  <a:pt x="1722" y="295"/>
                  <a:pt x="1609" y="269"/>
                  <a:pt x="1497" y="265"/>
                </a:cubicBezTo>
                <a:cubicBezTo>
                  <a:pt x="1158" y="278"/>
                  <a:pt x="811" y="483"/>
                  <a:pt x="795" y="912"/>
                </a:cubicBezTo>
                <a:cubicBezTo>
                  <a:pt x="780" y="1306"/>
                  <a:pt x="917" y="1618"/>
                  <a:pt x="1170" y="1769"/>
                </a:cubicBezTo>
                <a:close/>
                <a:moveTo>
                  <a:pt x="4933" y="2720"/>
                </a:moveTo>
                <a:lnTo>
                  <a:pt x="4933" y="5219"/>
                </a:lnTo>
                <a:cubicBezTo>
                  <a:pt x="4933" y="5293"/>
                  <a:pt x="4873" y="5347"/>
                  <a:pt x="4799" y="5347"/>
                </a:cubicBezTo>
                <a:lnTo>
                  <a:pt x="2564" y="5347"/>
                </a:lnTo>
                <a:cubicBezTo>
                  <a:pt x="2490" y="5347"/>
                  <a:pt x="2426" y="5293"/>
                  <a:pt x="2426" y="5219"/>
                </a:cubicBezTo>
                <a:lnTo>
                  <a:pt x="2426" y="4122"/>
                </a:lnTo>
                <a:cubicBezTo>
                  <a:pt x="2426" y="4049"/>
                  <a:pt x="2490" y="3987"/>
                  <a:pt x="2564" y="3987"/>
                </a:cubicBezTo>
                <a:lnTo>
                  <a:pt x="3434" y="3987"/>
                </a:lnTo>
                <a:cubicBezTo>
                  <a:pt x="3508" y="3987"/>
                  <a:pt x="3573" y="4049"/>
                  <a:pt x="3573" y="4122"/>
                </a:cubicBezTo>
                <a:lnTo>
                  <a:pt x="3573" y="5080"/>
                </a:lnTo>
                <a:lnTo>
                  <a:pt x="3986" y="5080"/>
                </a:lnTo>
                <a:lnTo>
                  <a:pt x="3986" y="3520"/>
                </a:lnTo>
                <a:lnTo>
                  <a:pt x="3386" y="3520"/>
                </a:lnTo>
                <a:lnTo>
                  <a:pt x="3386" y="3632"/>
                </a:lnTo>
                <a:cubicBezTo>
                  <a:pt x="3386" y="3706"/>
                  <a:pt x="3327" y="3766"/>
                  <a:pt x="3253" y="3766"/>
                </a:cubicBezTo>
                <a:cubicBezTo>
                  <a:pt x="3179" y="3766"/>
                  <a:pt x="3120" y="3706"/>
                  <a:pt x="3120" y="3632"/>
                </a:cubicBezTo>
                <a:lnTo>
                  <a:pt x="3120" y="3392"/>
                </a:lnTo>
                <a:cubicBezTo>
                  <a:pt x="3120" y="3318"/>
                  <a:pt x="3173" y="3253"/>
                  <a:pt x="3246" y="3253"/>
                </a:cubicBezTo>
                <a:lnTo>
                  <a:pt x="4117" y="3253"/>
                </a:lnTo>
                <a:cubicBezTo>
                  <a:pt x="4190" y="3253"/>
                  <a:pt x="4253" y="3318"/>
                  <a:pt x="4253" y="3392"/>
                </a:cubicBezTo>
                <a:lnTo>
                  <a:pt x="4253" y="5080"/>
                </a:lnTo>
                <a:lnTo>
                  <a:pt x="4666" y="5080"/>
                </a:lnTo>
                <a:lnTo>
                  <a:pt x="4666" y="2853"/>
                </a:lnTo>
                <a:lnTo>
                  <a:pt x="4066" y="2853"/>
                </a:lnTo>
                <a:lnTo>
                  <a:pt x="4066" y="2895"/>
                </a:lnTo>
                <a:cubicBezTo>
                  <a:pt x="4066" y="2969"/>
                  <a:pt x="4007" y="3029"/>
                  <a:pt x="3933" y="3029"/>
                </a:cubicBezTo>
                <a:cubicBezTo>
                  <a:pt x="3859" y="3029"/>
                  <a:pt x="3800" y="2969"/>
                  <a:pt x="3800" y="2895"/>
                </a:cubicBezTo>
                <a:lnTo>
                  <a:pt x="3800" y="2720"/>
                </a:lnTo>
                <a:cubicBezTo>
                  <a:pt x="3800" y="2646"/>
                  <a:pt x="3855" y="2587"/>
                  <a:pt x="3929" y="2587"/>
                </a:cubicBezTo>
                <a:lnTo>
                  <a:pt x="4799" y="2587"/>
                </a:lnTo>
                <a:cubicBezTo>
                  <a:pt x="4873" y="2587"/>
                  <a:pt x="4933" y="2646"/>
                  <a:pt x="4933" y="2720"/>
                </a:cubicBezTo>
                <a:close/>
                <a:moveTo>
                  <a:pt x="3306" y="4253"/>
                </a:moveTo>
                <a:lnTo>
                  <a:pt x="2693" y="4253"/>
                </a:lnTo>
                <a:lnTo>
                  <a:pt x="2693" y="5080"/>
                </a:lnTo>
                <a:lnTo>
                  <a:pt x="3306" y="5080"/>
                </a:lnTo>
                <a:lnTo>
                  <a:pt x="3306" y="4253"/>
                </a:lnTo>
                <a:close/>
                <a:moveTo>
                  <a:pt x="2597" y="3537"/>
                </a:moveTo>
                <a:cubicBezTo>
                  <a:pt x="2669" y="3524"/>
                  <a:pt x="2717" y="3455"/>
                  <a:pt x="2704" y="3382"/>
                </a:cubicBezTo>
                <a:lnTo>
                  <a:pt x="2682" y="3263"/>
                </a:lnTo>
                <a:cubicBezTo>
                  <a:pt x="2572" y="2670"/>
                  <a:pt x="2013" y="2400"/>
                  <a:pt x="1505" y="2400"/>
                </a:cubicBezTo>
                <a:lnTo>
                  <a:pt x="1504" y="2400"/>
                </a:lnTo>
                <a:lnTo>
                  <a:pt x="1502" y="2400"/>
                </a:lnTo>
                <a:lnTo>
                  <a:pt x="1498" y="2400"/>
                </a:lnTo>
                <a:lnTo>
                  <a:pt x="1498" y="2400"/>
                </a:lnTo>
                <a:cubicBezTo>
                  <a:pt x="1497" y="2400"/>
                  <a:pt x="1496" y="2401"/>
                  <a:pt x="1495" y="2401"/>
                </a:cubicBezTo>
                <a:cubicBezTo>
                  <a:pt x="988" y="2404"/>
                  <a:pt x="429" y="2671"/>
                  <a:pt x="320" y="3263"/>
                </a:cubicBezTo>
                <a:lnTo>
                  <a:pt x="7" y="4960"/>
                </a:lnTo>
                <a:cubicBezTo>
                  <a:pt x="0" y="4999"/>
                  <a:pt x="10" y="5040"/>
                  <a:pt x="36" y="5071"/>
                </a:cubicBezTo>
                <a:cubicBezTo>
                  <a:pt x="61" y="5101"/>
                  <a:pt x="98" y="5120"/>
                  <a:pt x="138" y="5120"/>
                </a:cubicBezTo>
                <a:lnTo>
                  <a:pt x="1904" y="5120"/>
                </a:lnTo>
                <a:cubicBezTo>
                  <a:pt x="1977" y="5120"/>
                  <a:pt x="2037" y="5060"/>
                  <a:pt x="2037" y="4987"/>
                </a:cubicBezTo>
                <a:cubicBezTo>
                  <a:pt x="2037" y="4913"/>
                  <a:pt x="1977" y="4853"/>
                  <a:pt x="1904" y="4853"/>
                </a:cubicBezTo>
                <a:lnTo>
                  <a:pt x="298" y="4853"/>
                </a:lnTo>
                <a:lnTo>
                  <a:pt x="582" y="3313"/>
                </a:lnTo>
                <a:cubicBezTo>
                  <a:pt x="664" y="2869"/>
                  <a:pt x="1103" y="2669"/>
                  <a:pt x="1502" y="2669"/>
                </a:cubicBezTo>
                <a:cubicBezTo>
                  <a:pt x="1901" y="2671"/>
                  <a:pt x="2338" y="2869"/>
                  <a:pt x="2420" y="3313"/>
                </a:cubicBezTo>
                <a:lnTo>
                  <a:pt x="2441" y="3431"/>
                </a:lnTo>
                <a:cubicBezTo>
                  <a:pt x="2455" y="3503"/>
                  <a:pt x="2524" y="3551"/>
                  <a:pt x="2597" y="3537"/>
                </a:cubicBezTo>
                <a:close/>
                <a:moveTo>
                  <a:pt x="1641" y="3293"/>
                </a:moveTo>
                <a:cubicBezTo>
                  <a:pt x="1567" y="3293"/>
                  <a:pt x="1507" y="3353"/>
                  <a:pt x="1507" y="3427"/>
                </a:cubicBezTo>
                <a:cubicBezTo>
                  <a:pt x="1507" y="3500"/>
                  <a:pt x="1567" y="3560"/>
                  <a:pt x="1641" y="3560"/>
                </a:cubicBezTo>
                <a:lnTo>
                  <a:pt x="1901" y="3560"/>
                </a:lnTo>
                <a:cubicBezTo>
                  <a:pt x="1975" y="3560"/>
                  <a:pt x="2034" y="3500"/>
                  <a:pt x="2034" y="3427"/>
                </a:cubicBezTo>
                <a:cubicBezTo>
                  <a:pt x="2034" y="3353"/>
                  <a:pt x="1974" y="3293"/>
                  <a:pt x="1901" y="3293"/>
                </a:cubicBezTo>
                <a:lnTo>
                  <a:pt x="1641" y="329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29" name="iconfont-1054-809984">
            <a:extLst>
              <a:ext uri="{FF2B5EF4-FFF2-40B4-BE49-F238E27FC236}">
                <a16:creationId xmlns:a16="http://schemas.microsoft.com/office/drawing/2014/main" id="{604BCAE4-4BDD-C615-9C77-1F2F713211FC}"/>
              </a:ext>
            </a:extLst>
          </p:cNvPr>
          <p:cNvSpPr/>
          <p:nvPr/>
        </p:nvSpPr>
        <p:spPr>
          <a:xfrm>
            <a:off x="7589838" y="2971800"/>
            <a:ext cx="293688" cy="304800"/>
          </a:xfrm>
          <a:custGeom>
            <a:avLst/>
            <a:gdLst>
              <a:gd name="T0" fmla="*/ 9574 w 12032"/>
              <a:gd name="T1" fmla="*/ 12454 h 12480"/>
              <a:gd name="T2" fmla="*/ 7117 w 12032"/>
              <a:gd name="T3" fmla="*/ 9997 h 12480"/>
              <a:gd name="T4" fmla="*/ 9574 w 12032"/>
              <a:gd name="T5" fmla="*/ 7552 h 12480"/>
              <a:gd name="T6" fmla="*/ 12032 w 12032"/>
              <a:gd name="T7" fmla="*/ 9997 h 12480"/>
              <a:gd name="T8" fmla="*/ 9574 w 12032"/>
              <a:gd name="T9" fmla="*/ 12454 h 12480"/>
              <a:gd name="T10" fmla="*/ 9574 w 12032"/>
              <a:gd name="T11" fmla="*/ 8102 h 12480"/>
              <a:gd name="T12" fmla="*/ 7654 w 12032"/>
              <a:gd name="T13" fmla="*/ 10022 h 12480"/>
              <a:gd name="T14" fmla="*/ 9574 w 12032"/>
              <a:gd name="T15" fmla="*/ 11942 h 12480"/>
              <a:gd name="T16" fmla="*/ 11494 w 12032"/>
              <a:gd name="T17" fmla="*/ 10022 h 12480"/>
              <a:gd name="T18" fmla="*/ 9574 w 12032"/>
              <a:gd name="T19" fmla="*/ 8102 h 12480"/>
              <a:gd name="T20" fmla="*/ 10675 w 12032"/>
              <a:gd name="T21" fmla="*/ 10317 h 12480"/>
              <a:gd name="T22" fmla="*/ 10970 w 12032"/>
              <a:gd name="T23" fmla="*/ 10022 h 12480"/>
              <a:gd name="T24" fmla="*/ 10675 w 12032"/>
              <a:gd name="T25" fmla="*/ 9728 h 12480"/>
              <a:gd name="T26" fmla="*/ 8486 w 12032"/>
              <a:gd name="T27" fmla="*/ 9728 h 12480"/>
              <a:gd name="T28" fmla="*/ 8192 w 12032"/>
              <a:gd name="T29" fmla="*/ 10022 h 12480"/>
              <a:gd name="T30" fmla="*/ 8486 w 12032"/>
              <a:gd name="T31" fmla="*/ 10317 h 12480"/>
              <a:gd name="T32" fmla="*/ 10675 w 12032"/>
              <a:gd name="T33" fmla="*/ 10317 h 12480"/>
              <a:gd name="T34" fmla="*/ 9126 w 12032"/>
              <a:gd name="T35" fmla="*/ 4262 h 12480"/>
              <a:gd name="T36" fmla="*/ 2138 w 12032"/>
              <a:gd name="T37" fmla="*/ 4262 h 12480"/>
              <a:gd name="T38" fmla="*/ 1843 w 12032"/>
              <a:gd name="T39" fmla="*/ 4557 h 12480"/>
              <a:gd name="T40" fmla="*/ 2138 w 12032"/>
              <a:gd name="T41" fmla="*/ 4851 h 12480"/>
              <a:gd name="T42" fmla="*/ 9126 w 12032"/>
              <a:gd name="T43" fmla="*/ 4851 h 12480"/>
              <a:gd name="T44" fmla="*/ 9421 w 12032"/>
              <a:gd name="T45" fmla="*/ 4557 h 12480"/>
              <a:gd name="T46" fmla="*/ 9126 w 12032"/>
              <a:gd name="T47" fmla="*/ 4262 h 12480"/>
              <a:gd name="T48" fmla="*/ 10995 w 12032"/>
              <a:gd name="T49" fmla="*/ 1728 h 12480"/>
              <a:gd name="T50" fmla="*/ 9280 w 12032"/>
              <a:gd name="T51" fmla="*/ 0 h 12480"/>
              <a:gd name="T52" fmla="*/ 294 w 12032"/>
              <a:gd name="T53" fmla="*/ 0 h 12480"/>
              <a:gd name="T54" fmla="*/ 0 w 12032"/>
              <a:gd name="T55" fmla="*/ 0 h 12480"/>
              <a:gd name="T56" fmla="*/ 0 w 12032"/>
              <a:gd name="T57" fmla="*/ 294 h 12480"/>
              <a:gd name="T58" fmla="*/ 0 w 12032"/>
              <a:gd name="T59" fmla="*/ 10752 h 12480"/>
              <a:gd name="T60" fmla="*/ 1702 w 12032"/>
              <a:gd name="T61" fmla="*/ 12480 h 12480"/>
              <a:gd name="T62" fmla="*/ 6925 w 12032"/>
              <a:gd name="T63" fmla="*/ 12480 h 12480"/>
              <a:gd name="T64" fmla="*/ 6925 w 12032"/>
              <a:gd name="T65" fmla="*/ 12480 h 12480"/>
              <a:gd name="T66" fmla="*/ 7206 w 12032"/>
              <a:gd name="T67" fmla="*/ 12173 h 12480"/>
              <a:gd name="T68" fmla="*/ 6925 w 12032"/>
              <a:gd name="T69" fmla="*/ 11866 h 12480"/>
              <a:gd name="T70" fmla="*/ 6925 w 12032"/>
              <a:gd name="T71" fmla="*/ 11866 h 12480"/>
              <a:gd name="T72" fmla="*/ 1677 w 12032"/>
              <a:gd name="T73" fmla="*/ 11866 h 12480"/>
              <a:gd name="T74" fmla="*/ 589 w 12032"/>
              <a:gd name="T75" fmla="*/ 10739 h 12480"/>
              <a:gd name="T76" fmla="*/ 589 w 12032"/>
              <a:gd name="T77" fmla="*/ 614 h 12480"/>
              <a:gd name="T78" fmla="*/ 9280 w 12032"/>
              <a:gd name="T79" fmla="*/ 614 h 12480"/>
              <a:gd name="T80" fmla="*/ 10368 w 12032"/>
              <a:gd name="T81" fmla="*/ 1741 h 12480"/>
              <a:gd name="T82" fmla="*/ 10368 w 12032"/>
              <a:gd name="T83" fmla="*/ 6822 h 12480"/>
              <a:gd name="T84" fmla="*/ 10368 w 12032"/>
              <a:gd name="T85" fmla="*/ 6822 h 12480"/>
              <a:gd name="T86" fmla="*/ 10368 w 12032"/>
              <a:gd name="T87" fmla="*/ 6822 h 12480"/>
              <a:gd name="T88" fmla="*/ 10675 w 12032"/>
              <a:gd name="T89" fmla="*/ 7130 h 12480"/>
              <a:gd name="T90" fmla="*/ 10982 w 12032"/>
              <a:gd name="T91" fmla="*/ 6822 h 12480"/>
              <a:gd name="T92" fmla="*/ 10982 w 12032"/>
              <a:gd name="T93" fmla="*/ 6822 h 12480"/>
              <a:gd name="T94" fmla="*/ 10982 w 12032"/>
              <a:gd name="T95" fmla="*/ 6822 h 12480"/>
              <a:gd name="T96" fmla="*/ 10982 w 12032"/>
              <a:gd name="T97" fmla="*/ 1728 h 12480"/>
              <a:gd name="T98" fmla="*/ 10995 w 12032"/>
              <a:gd name="T99" fmla="*/ 1728 h 12480"/>
              <a:gd name="T100" fmla="*/ 9152 w 12032"/>
              <a:gd name="T101" fmla="*/ 2432 h 12480"/>
              <a:gd name="T102" fmla="*/ 2163 w 12032"/>
              <a:gd name="T103" fmla="*/ 2432 h 12480"/>
              <a:gd name="T104" fmla="*/ 1869 w 12032"/>
              <a:gd name="T105" fmla="*/ 2726 h 12480"/>
              <a:gd name="T106" fmla="*/ 2163 w 12032"/>
              <a:gd name="T107" fmla="*/ 3021 h 12480"/>
              <a:gd name="T108" fmla="*/ 9152 w 12032"/>
              <a:gd name="T109" fmla="*/ 3021 h 12480"/>
              <a:gd name="T110" fmla="*/ 9446 w 12032"/>
              <a:gd name="T111" fmla="*/ 2726 h 12480"/>
              <a:gd name="T112" fmla="*/ 9152 w 12032"/>
              <a:gd name="T113" fmla="*/ 2432 h 12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032" h="12480">
                <a:moveTo>
                  <a:pt x="9574" y="12454"/>
                </a:moveTo>
                <a:cubicBezTo>
                  <a:pt x="8218" y="12454"/>
                  <a:pt x="7117" y="11366"/>
                  <a:pt x="7117" y="9997"/>
                </a:cubicBezTo>
                <a:cubicBezTo>
                  <a:pt x="7117" y="8627"/>
                  <a:pt x="8218" y="7552"/>
                  <a:pt x="9574" y="7552"/>
                </a:cubicBezTo>
                <a:cubicBezTo>
                  <a:pt x="10931" y="7552"/>
                  <a:pt x="12032" y="8640"/>
                  <a:pt x="12032" y="9997"/>
                </a:cubicBezTo>
                <a:cubicBezTo>
                  <a:pt x="12006" y="11366"/>
                  <a:pt x="10906" y="12454"/>
                  <a:pt x="9574" y="12454"/>
                </a:cubicBezTo>
                <a:close/>
                <a:moveTo>
                  <a:pt x="9574" y="8102"/>
                </a:moveTo>
                <a:cubicBezTo>
                  <a:pt x="8512" y="8102"/>
                  <a:pt x="7654" y="8960"/>
                  <a:pt x="7654" y="10022"/>
                </a:cubicBezTo>
                <a:cubicBezTo>
                  <a:pt x="7654" y="11085"/>
                  <a:pt x="8512" y="11942"/>
                  <a:pt x="9574" y="11942"/>
                </a:cubicBezTo>
                <a:cubicBezTo>
                  <a:pt x="10637" y="11942"/>
                  <a:pt x="11494" y="11085"/>
                  <a:pt x="11494" y="10022"/>
                </a:cubicBezTo>
                <a:cubicBezTo>
                  <a:pt x="11469" y="8960"/>
                  <a:pt x="10624" y="8102"/>
                  <a:pt x="9574" y="8102"/>
                </a:cubicBezTo>
                <a:close/>
                <a:moveTo>
                  <a:pt x="10675" y="10317"/>
                </a:moveTo>
                <a:cubicBezTo>
                  <a:pt x="10829" y="10317"/>
                  <a:pt x="10970" y="10189"/>
                  <a:pt x="10970" y="10022"/>
                </a:cubicBezTo>
                <a:cubicBezTo>
                  <a:pt x="10970" y="9869"/>
                  <a:pt x="10842" y="9728"/>
                  <a:pt x="10675" y="9728"/>
                </a:cubicBezTo>
                <a:lnTo>
                  <a:pt x="8486" y="9728"/>
                </a:lnTo>
                <a:cubicBezTo>
                  <a:pt x="8333" y="9728"/>
                  <a:pt x="8192" y="9856"/>
                  <a:pt x="8192" y="10022"/>
                </a:cubicBezTo>
                <a:cubicBezTo>
                  <a:pt x="8192" y="10176"/>
                  <a:pt x="8320" y="10317"/>
                  <a:pt x="8486" y="10317"/>
                </a:cubicBezTo>
                <a:lnTo>
                  <a:pt x="10675" y="10317"/>
                </a:lnTo>
                <a:close/>
                <a:moveTo>
                  <a:pt x="9126" y="4262"/>
                </a:moveTo>
                <a:lnTo>
                  <a:pt x="2138" y="4262"/>
                </a:lnTo>
                <a:cubicBezTo>
                  <a:pt x="1984" y="4262"/>
                  <a:pt x="1843" y="4390"/>
                  <a:pt x="1843" y="4557"/>
                </a:cubicBezTo>
                <a:cubicBezTo>
                  <a:pt x="1843" y="4723"/>
                  <a:pt x="1971" y="4851"/>
                  <a:pt x="2138" y="4851"/>
                </a:cubicBezTo>
                <a:lnTo>
                  <a:pt x="9126" y="4851"/>
                </a:lnTo>
                <a:cubicBezTo>
                  <a:pt x="9280" y="4851"/>
                  <a:pt x="9421" y="4723"/>
                  <a:pt x="9421" y="4557"/>
                </a:cubicBezTo>
                <a:cubicBezTo>
                  <a:pt x="9421" y="4390"/>
                  <a:pt x="9280" y="4262"/>
                  <a:pt x="9126" y="4262"/>
                </a:cubicBezTo>
                <a:close/>
                <a:moveTo>
                  <a:pt x="10995" y="1728"/>
                </a:moveTo>
                <a:cubicBezTo>
                  <a:pt x="10995" y="768"/>
                  <a:pt x="10214" y="0"/>
                  <a:pt x="9280" y="0"/>
                </a:cubicBezTo>
                <a:lnTo>
                  <a:pt x="294" y="0"/>
                </a:lnTo>
                <a:lnTo>
                  <a:pt x="0" y="0"/>
                </a:lnTo>
                <a:lnTo>
                  <a:pt x="0" y="294"/>
                </a:lnTo>
                <a:lnTo>
                  <a:pt x="0" y="10752"/>
                </a:lnTo>
                <a:cubicBezTo>
                  <a:pt x="0" y="11712"/>
                  <a:pt x="742" y="12480"/>
                  <a:pt x="1702" y="12480"/>
                </a:cubicBezTo>
                <a:lnTo>
                  <a:pt x="6925" y="12480"/>
                </a:lnTo>
                <a:lnTo>
                  <a:pt x="6925" y="12480"/>
                </a:lnTo>
                <a:cubicBezTo>
                  <a:pt x="7091" y="12467"/>
                  <a:pt x="7206" y="12339"/>
                  <a:pt x="7206" y="12173"/>
                </a:cubicBezTo>
                <a:cubicBezTo>
                  <a:pt x="7206" y="12006"/>
                  <a:pt x="7078" y="11878"/>
                  <a:pt x="6925" y="11866"/>
                </a:cubicBezTo>
                <a:lnTo>
                  <a:pt x="6925" y="11866"/>
                </a:lnTo>
                <a:lnTo>
                  <a:pt x="1677" y="11866"/>
                </a:lnTo>
                <a:cubicBezTo>
                  <a:pt x="1088" y="11866"/>
                  <a:pt x="589" y="11354"/>
                  <a:pt x="589" y="10739"/>
                </a:cubicBezTo>
                <a:lnTo>
                  <a:pt x="589" y="614"/>
                </a:lnTo>
                <a:lnTo>
                  <a:pt x="9280" y="614"/>
                </a:lnTo>
                <a:cubicBezTo>
                  <a:pt x="9869" y="614"/>
                  <a:pt x="10368" y="1126"/>
                  <a:pt x="10368" y="1741"/>
                </a:cubicBezTo>
                <a:lnTo>
                  <a:pt x="10368" y="6822"/>
                </a:lnTo>
                <a:lnTo>
                  <a:pt x="10368" y="6822"/>
                </a:lnTo>
                <a:lnTo>
                  <a:pt x="10368" y="6822"/>
                </a:lnTo>
                <a:cubicBezTo>
                  <a:pt x="10368" y="6989"/>
                  <a:pt x="10509" y="7130"/>
                  <a:pt x="10675" y="7130"/>
                </a:cubicBezTo>
                <a:cubicBezTo>
                  <a:pt x="10842" y="7130"/>
                  <a:pt x="10982" y="6989"/>
                  <a:pt x="10982" y="6822"/>
                </a:cubicBezTo>
                <a:lnTo>
                  <a:pt x="10982" y="6822"/>
                </a:lnTo>
                <a:lnTo>
                  <a:pt x="10982" y="6822"/>
                </a:lnTo>
                <a:lnTo>
                  <a:pt x="10982" y="1728"/>
                </a:lnTo>
                <a:lnTo>
                  <a:pt x="10995" y="1728"/>
                </a:lnTo>
                <a:close/>
                <a:moveTo>
                  <a:pt x="9152" y="2432"/>
                </a:moveTo>
                <a:lnTo>
                  <a:pt x="2163" y="2432"/>
                </a:lnTo>
                <a:cubicBezTo>
                  <a:pt x="2010" y="2432"/>
                  <a:pt x="1869" y="2560"/>
                  <a:pt x="1869" y="2726"/>
                </a:cubicBezTo>
                <a:cubicBezTo>
                  <a:pt x="1869" y="2893"/>
                  <a:pt x="1997" y="3021"/>
                  <a:pt x="2163" y="3021"/>
                </a:cubicBezTo>
                <a:lnTo>
                  <a:pt x="9152" y="3021"/>
                </a:lnTo>
                <a:cubicBezTo>
                  <a:pt x="9306" y="3021"/>
                  <a:pt x="9446" y="2893"/>
                  <a:pt x="9446" y="2726"/>
                </a:cubicBezTo>
                <a:cubicBezTo>
                  <a:pt x="9472" y="2560"/>
                  <a:pt x="9344" y="2432"/>
                  <a:pt x="9152" y="24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4C4FC69-2E8F-AD54-7846-19A19B2E36E2}"/>
              </a:ext>
            </a:extLst>
          </p:cNvPr>
          <p:cNvSpPr txBox="1"/>
          <p:nvPr/>
        </p:nvSpPr>
        <p:spPr>
          <a:xfrm>
            <a:off x="515937" y="1417639"/>
            <a:ext cx="6409780" cy="720000"/>
          </a:xfrm>
          <a:prstGeom prst="roundRect">
            <a:avLst/>
          </a:prstGeom>
          <a:solidFill>
            <a:srgbClr val="C00000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  <a:sym typeface="+mn-ea"/>
              </a:rPr>
              <a:t>莫博赛替尼安全性可控可管理</a:t>
            </a:r>
            <a:endParaRPr kumimoji="0" lang="en-US" altLang="zh-CN" sz="2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  <a:sym typeface="+mn-ea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B96A4DD-3BA1-DB9C-3782-A3CECB4D2CA9}"/>
              </a:ext>
            </a:extLst>
          </p:cNvPr>
          <p:cNvSpPr txBox="1"/>
          <p:nvPr/>
        </p:nvSpPr>
        <p:spPr>
          <a:xfrm>
            <a:off x="7156450" y="1417639"/>
            <a:ext cx="4519613" cy="720000"/>
          </a:xfrm>
          <a:prstGeom prst="roundRect">
            <a:avLst/>
          </a:prstGeom>
          <a:solidFill>
            <a:srgbClr val="C00000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明显改善肺癌症状及</a:t>
            </a:r>
            <a:endParaRPr lang="en-US" altLang="zh-CN" sz="20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总体健康状况和生活质量</a:t>
            </a:r>
            <a:endParaRPr lang="zh-CN" altLang="en-US" sz="2000" b="1" baseline="30000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5" name="直接连接符 681">
            <a:extLst>
              <a:ext uri="{FF2B5EF4-FFF2-40B4-BE49-F238E27FC236}">
                <a16:creationId xmlns:a16="http://schemas.microsoft.com/office/drawing/2014/main" id="{11CB1F66-99D0-9C81-BD09-5099CD0DA98B}"/>
              </a:ext>
            </a:extLst>
          </p:cNvPr>
          <p:cNvCxnSpPr>
            <a:cxnSpLocks/>
          </p:cNvCxnSpPr>
          <p:nvPr/>
        </p:nvCxnSpPr>
        <p:spPr>
          <a:xfrm>
            <a:off x="7041083" y="2190750"/>
            <a:ext cx="0" cy="3960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7">
            <a:extLst>
              <a:ext uri="{FF2B5EF4-FFF2-40B4-BE49-F238E27FC236}">
                <a16:creationId xmlns:a16="http://schemas.microsoft.com/office/drawing/2014/main" id="{44672630-722A-2E59-D4D2-626437F3B322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安全性</a:t>
            </a:r>
          </a:p>
        </p:txBody>
      </p:sp>
      <p:sp>
        <p:nvSpPr>
          <p:cNvPr id="17" name="标题 5">
            <a:extLst>
              <a:ext uri="{FF2B5EF4-FFF2-40B4-BE49-F238E27FC236}">
                <a16:creationId xmlns:a16="http://schemas.microsoft.com/office/drawing/2014/main" id="{365ABAF1-C5D2-12D7-BEE4-ECC34B9DE006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1253469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kumimoji="0" lang="zh-CN" altLang="en-US" sz="3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莫博赛替尼安全性可控可管理，明显改善总体健康状况和生活质量</a:t>
            </a:r>
            <a:endParaRPr lang="zh-CN" altLang="en-US" sz="3000" b="1" kern="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8BCE79F7-DC0C-1440-6FD1-BD3AE5C3BB32}"/>
              </a:ext>
            </a:extLst>
          </p:cNvPr>
          <p:cNvGrpSpPr/>
          <p:nvPr/>
        </p:nvGrpSpPr>
        <p:grpSpPr>
          <a:xfrm>
            <a:off x="528552" y="2098345"/>
            <a:ext cx="6501796" cy="4039696"/>
            <a:chOff x="520223" y="2306308"/>
            <a:chExt cx="6501796" cy="4039696"/>
          </a:xfrm>
        </p:grpSpPr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87D41B69-8D3F-4597-8DF4-628D479ED753}"/>
                </a:ext>
              </a:extLst>
            </p:cNvPr>
            <p:cNvSpPr txBox="1"/>
            <p:nvPr/>
          </p:nvSpPr>
          <p:spPr>
            <a:xfrm>
              <a:off x="520223" y="2306308"/>
              <a:ext cx="6242137" cy="40396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ts val="2600"/>
                </a:lnSpc>
                <a:spcBef>
                  <a:spcPts val="900"/>
                </a:spcBef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说明书收载的安全性信息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180000" indent="-180000" algn="just">
                <a:lnSpc>
                  <a:spcPts val="24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SCO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专家共识指出，莫博赛替尼毒性谱与已知的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FR-TKIs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相似，多为轻症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(1-2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级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)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整体可控可管理。最常见的治疗相关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AEs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为胃肠道和皮肤相关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,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可通过剂量调整、药物治疗得到有效控制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,2</a:t>
              </a:r>
            </a:p>
            <a:p>
              <a:pPr marL="360000" indent="-180000" algn="just">
                <a:lnSpc>
                  <a:spcPts val="2400"/>
                </a:lnSpc>
                <a:spcBef>
                  <a:spcPts val="300"/>
                </a:spcBef>
                <a:buFont typeface="Arial" panose="020B0604020202020204" pitchFamily="34" charset="0"/>
                <a:buChar char="−"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常见不良反应≥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级发生率：腹泻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.3%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皮疹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.4%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贫血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%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</a:p>
            <a:p>
              <a:pPr marL="360000" indent="-180000" algn="just">
                <a:lnSpc>
                  <a:spcPts val="2400"/>
                </a:lnSpc>
                <a:spcBef>
                  <a:spcPts val="300"/>
                </a:spcBef>
                <a:buFont typeface="Arial" panose="020B0604020202020204" pitchFamily="34" charset="0"/>
                <a:buChar char="−"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亚洲人≥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级腹泻发生率更低：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6%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</a:t>
              </a:r>
            </a:p>
            <a:p>
              <a:pPr marL="180000" indent="-180000" algn="just">
                <a:lnSpc>
                  <a:spcPts val="24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常见不良反应可短时间内消退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腹泻 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呕吐 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，恶心 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2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</a:t>
              </a:r>
              <a:endPara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80000" indent="-180000" algn="just">
                <a:lnSpc>
                  <a:spcPts val="24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适用于特殊人群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轻度肝损伤、轻中度肾损伤及年龄≥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65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岁的患者无需调整剂量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>
                <a:lnSpc>
                  <a:spcPts val="2600"/>
                </a:lnSpc>
                <a:spcBef>
                  <a:spcPts val="1200"/>
                </a:spcBef>
                <a:defRPr/>
              </a:pPr>
              <a:r>
                <a:rPr lang="zh-CN" altLang="en-US" sz="1600" dirty="0">
                  <a:solidFill>
                    <a:srgbClr val="242424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国内外不良反应发生情况</a:t>
              </a:r>
              <a:endParaRPr lang="en-US" altLang="zh-CN" sz="1600" dirty="0">
                <a:solidFill>
                  <a:srgbClr val="24242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180000" indent="-180000" algn="just">
                <a:lnSpc>
                  <a:spcPts val="200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基于上市前后累积的临床和安全性信息，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具有良好的获益</a:t>
              </a:r>
              <a:r>
                <a:rPr lang="en-US" altLang="zh-CN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比</a:t>
              </a:r>
            </a:p>
          </p:txBody>
        </p:sp>
        <p:sp>
          <p:nvSpPr>
            <p:cNvPr id="7395" name="文本框 7394">
              <a:extLst>
                <a:ext uri="{FF2B5EF4-FFF2-40B4-BE49-F238E27FC236}">
                  <a16:creationId xmlns:a16="http://schemas.microsoft.com/office/drawing/2014/main" id="{3C137381-E683-083B-4945-C1EBDE2BA5A5}"/>
                </a:ext>
              </a:extLst>
            </p:cNvPr>
            <p:cNvSpPr txBox="1"/>
            <p:nvPr/>
          </p:nvSpPr>
          <p:spPr>
            <a:xfrm>
              <a:off x="6539134" y="4486276"/>
              <a:ext cx="482885" cy="2359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14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 *</a:t>
              </a:r>
              <a:endParaRPr lang="zh-CN" altLang="en-US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DEAECBB5-0349-4590-8F09-D9DF6589F10E}"/>
                </a:ext>
              </a:extLst>
            </p:cNvPr>
            <p:cNvSpPr txBox="1"/>
            <p:nvPr/>
          </p:nvSpPr>
          <p:spPr>
            <a:xfrm>
              <a:off x="6493419" y="6010308"/>
              <a:ext cx="482885" cy="2359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altLang="zh-CN" sz="14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" name="文本框 5">
            <a:extLst>
              <a:ext uri="{FF2B5EF4-FFF2-40B4-BE49-F238E27FC236}">
                <a16:creationId xmlns:a16="http://schemas.microsoft.com/office/drawing/2014/main" id="{E4C31DC8-18DB-4048-BC89-70AF4A845E23}"/>
              </a:ext>
            </a:extLst>
          </p:cNvPr>
          <p:cNvSpPr txBox="1"/>
          <p:nvPr/>
        </p:nvSpPr>
        <p:spPr>
          <a:xfrm>
            <a:off x="450852" y="6273372"/>
            <a:ext cx="112252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释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消退时间     </a:t>
            </a:r>
            <a:r>
              <a:rPr lang="zh-CN" altLang="en-US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考文献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1. 《EGFR ex20ins NSCLC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规范化诊疗中国专家共识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琥珀酸莫博赛替尼胶囊说明书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版）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 Takeda. DOF ref-161072 Exkivity (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bocertinib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 CHMP oral explanation meeting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 James 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ih-Hsin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Yang, et al. Expert Rev Anticancer 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er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. 2022 Dec 28;1-12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期获益风险评估报告（数据锁定点：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）；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Maria Rosario Garcia </a:t>
            </a:r>
            <a:r>
              <a:rPr lang="en-US" altLang="zh-CN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mpelo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et al WCLC2021_FP09.02</a:t>
            </a:r>
            <a:endParaRPr lang="zh-CN" altLang="en-US" sz="800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6399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0DD8E863-AA1D-22B4-351C-8C8187B76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183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0DD8E863-AA1D-22B4-351C-8C8187B76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矩形 37">
            <a:extLst>
              <a:ext uri="{FF2B5EF4-FFF2-40B4-BE49-F238E27FC236}">
                <a16:creationId xmlns:a16="http://schemas.microsoft.com/office/drawing/2014/main" id="{4555FBF7-BF69-200C-3740-998D980DEDA4}"/>
              </a:ext>
            </a:extLst>
          </p:cNvPr>
          <p:cNvSpPr/>
          <p:nvPr/>
        </p:nvSpPr>
        <p:spPr>
          <a:xfrm>
            <a:off x="5419288" y="1412875"/>
            <a:ext cx="6248980" cy="46450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5" name="灯片编号占位符 2">
            <a:extLst>
              <a:ext uri="{FF2B5EF4-FFF2-40B4-BE49-F238E27FC236}">
                <a16:creationId xmlns:a16="http://schemas.microsoft.com/office/drawing/2014/main" id="{797C2AB2-F0D2-65BD-E439-D7AA44173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1554" y="6623410"/>
            <a:ext cx="252000" cy="196131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174834-AE19-4E6F-B9DB-370160A47D1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46" name="Rectangle 7">
            <a:extLst>
              <a:ext uri="{FF2B5EF4-FFF2-40B4-BE49-F238E27FC236}">
                <a16:creationId xmlns:a16="http://schemas.microsoft.com/office/drawing/2014/main" id="{60CC85E0-944E-FC36-452E-DF7140D6763B}"/>
              </a:ext>
            </a:extLst>
          </p:cNvPr>
          <p:cNvSpPr/>
          <p:nvPr/>
        </p:nvSpPr>
        <p:spPr>
          <a:xfrm rot="5400000">
            <a:off x="-307710" y="573235"/>
            <a:ext cx="950532" cy="335112"/>
          </a:xfrm>
          <a:prstGeom prst="round2SameRect">
            <a:avLst>
              <a:gd name="adj1" fmla="val 41901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创新性</a:t>
            </a:r>
          </a:p>
        </p:txBody>
      </p:sp>
      <p:sp>
        <p:nvSpPr>
          <p:cNvPr id="47" name="标题 5">
            <a:extLst>
              <a:ext uri="{FF2B5EF4-FFF2-40B4-BE49-F238E27FC236}">
                <a16:creationId xmlns:a16="http://schemas.microsoft.com/office/drawing/2014/main" id="{339AA1B6-674A-719D-9C62-A59F224AC047}"/>
              </a:ext>
            </a:extLst>
          </p:cNvPr>
          <p:cNvSpPr txBox="1">
            <a:spLocks/>
          </p:cNvSpPr>
          <p:nvPr/>
        </p:nvSpPr>
        <p:spPr>
          <a:xfrm>
            <a:off x="450851" y="318342"/>
            <a:ext cx="10918483" cy="8448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莫博赛替尼是</a:t>
            </a:r>
            <a:r>
              <a:rPr kumimoji="0" lang="en-US" altLang="zh-CN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GFR ex20ins NSCLC</a:t>
            </a: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领域</a:t>
            </a:r>
            <a:r>
              <a:rPr kumimoji="0" lang="en-US" altLang="zh-CN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</a:t>
            </a: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来的重大创新，为患者带来有效的治疗手段和长生存获益</a:t>
            </a:r>
            <a:endParaRPr kumimoji="1" lang="zh-CN" altLang="en-US" sz="30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F7469F4A-0912-7B1D-A460-E422E174DE21}"/>
              </a:ext>
            </a:extLst>
          </p:cNvPr>
          <p:cNvSpPr/>
          <p:nvPr/>
        </p:nvSpPr>
        <p:spPr>
          <a:xfrm>
            <a:off x="528352" y="5071235"/>
            <a:ext cx="1288370" cy="986665"/>
          </a:xfrm>
          <a:prstGeom prst="roundRect">
            <a:avLst>
              <a:gd name="adj" fmla="val 9015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长生存获益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2BBEF47-3337-AB25-7EB7-DF69FEDB2617}"/>
              </a:ext>
            </a:extLst>
          </p:cNvPr>
          <p:cNvSpPr txBox="1"/>
          <p:nvPr/>
        </p:nvSpPr>
        <p:spPr>
          <a:xfrm>
            <a:off x="1825307" y="1564760"/>
            <a:ext cx="3540960" cy="6773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来</a:t>
            </a: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国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个且唯一获批针对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ex20ins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靶向药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4F62EF0-FA0E-CD0B-4505-285B4CA11554}"/>
              </a:ext>
            </a:extLst>
          </p:cNvPr>
          <p:cNvSpPr txBox="1"/>
          <p:nvPr/>
        </p:nvSpPr>
        <p:spPr>
          <a:xfrm>
            <a:off x="1825307" y="2634469"/>
            <a:ext cx="3540960" cy="991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独特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异丙酯结构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解决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GFR ex20ins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与药物结合的难题，实现精准选择、高度亲和、强效抑制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FD80BAA-A53E-1585-6777-EFC638465DC0}"/>
              </a:ext>
            </a:extLst>
          </p:cNvPr>
          <p:cNvSpPr txBox="1"/>
          <p:nvPr/>
        </p:nvSpPr>
        <p:spPr>
          <a:xfrm>
            <a:off x="1825307" y="3851231"/>
            <a:ext cx="3540960" cy="9875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天一次口服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提升依从性，便于临床管理；减少因住院和注射产生的相关费用；改善患者生活质量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C9695625-58AC-72EC-FE46-11BBAD49EF83}"/>
              </a:ext>
            </a:extLst>
          </p:cNvPr>
          <p:cNvSpPr txBox="1"/>
          <p:nvPr/>
        </p:nvSpPr>
        <p:spPr>
          <a:xfrm>
            <a:off x="1825307" y="5224667"/>
            <a:ext cx="3540960" cy="6798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位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达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.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显著改善生存结局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2A2E6B1-92BF-663E-4CF4-C282F04C9DB1}"/>
              </a:ext>
            </a:extLst>
          </p:cNvPr>
          <p:cNvSpPr txBox="1"/>
          <p:nvPr/>
        </p:nvSpPr>
        <p:spPr>
          <a:xfrm>
            <a:off x="450852" y="6273372"/>
            <a:ext cx="1122521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注释：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唯一指截至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lang="en-US" altLang="zh-CN" sz="800" dirty="0">
                <a:solidFill>
                  <a:srgbClr val="000000">
                    <a:lumMod val="50000"/>
                    <a:lumOff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日    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参考文献：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onzalvez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F, et al. Cancer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iscov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21 Jul;11(7):1672-1687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2. S.S. Ramalingam, et al. 2022 ESMO Poster 988P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B568EEA2-AA60-DC73-CB87-E7F9EE752F84}"/>
              </a:ext>
            </a:extLst>
          </p:cNvPr>
          <p:cNvGrpSpPr/>
          <p:nvPr/>
        </p:nvGrpSpPr>
        <p:grpSpPr>
          <a:xfrm>
            <a:off x="5532383" y="1639068"/>
            <a:ext cx="6009826" cy="4192639"/>
            <a:chOff x="5532383" y="1703411"/>
            <a:chExt cx="6009826" cy="4192639"/>
          </a:xfrm>
        </p:grpSpPr>
        <p:sp>
          <p:nvSpPr>
            <p:cNvPr id="7" name="箭头: 五边形 6">
              <a:extLst>
                <a:ext uri="{FF2B5EF4-FFF2-40B4-BE49-F238E27FC236}">
                  <a16:creationId xmlns:a16="http://schemas.microsoft.com/office/drawing/2014/main" id="{33D9C24F-96DC-FD7F-3E99-94D758F408FC}"/>
                </a:ext>
              </a:extLst>
            </p:cNvPr>
            <p:cNvSpPr/>
            <p:nvPr/>
          </p:nvSpPr>
          <p:spPr>
            <a:xfrm>
              <a:off x="5676043" y="2333625"/>
              <a:ext cx="2965658" cy="3562425"/>
            </a:xfrm>
            <a:prstGeom prst="homePlate">
              <a:avLst>
                <a:gd name="adj" fmla="val 672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7" name="文本框 66">
              <a:extLst>
                <a:ext uri="{FF2B5EF4-FFF2-40B4-BE49-F238E27FC236}">
                  <a16:creationId xmlns:a16="http://schemas.microsoft.com/office/drawing/2014/main" id="{F5708700-DEC0-99F5-0C08-224ECCDDE7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6043" y="1706457"/>
              <a:ext cx="2849027" cy="538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r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ts val="1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 Regular"/>
                </a:rPr>
                <a:t>EGFR ex20ins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 Regular"/>
                </a:rPr>
                <a:t>药物结合口袋变小，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 Regular"/>
              </a:endParaRPr>
            </a:p>
            <a:p>
              <a:pPr marL="0" marR="0" lvl="0" indent="0" algn="ctr" defTabSz="914400" rtl="0" eaLnBrk="1" fontAlgn="base" latinLnBrk="0" hangingPunct="1">
                <a:lnSpc>
                  <a:spcPts val="18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 Regular"/>
                </a:rPr>
                <a:t>传统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 Regular"/>
                </a:rPr>
                <a:t>EGFR TKI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 Regular"/>
                </a:rPr>
                <a:t>结合受阻</a:t>
              </a:r>
            </a:p>
          </p:txBody>
        </p:sp>
        <p:sp>
          <p:nvSpPr>
            <p:cNvPr id="18" name="箭头: V 形 17">
              <a:extLst>
                <a:ext uri="{FF2B5EF4-FFF2-40B4-BE49-F238E27FC236}">
                  <a16:creationId xmlns:a16="http://schemas.microsoft.com/office/drawing/2014/main" id="{B0F58BB6-3D13-20D0-D430-B8CA63D95423}"/>
                </a:ext>
              </a:extLst>
            </p:cNvPr>
            <p:cNvSpPr/>
            <p:nvPr/>
          </p:nvSpPr>
          <p:spPr>
            <a:xfrm>
              <a:off x="8538248" y="2333625"/>
              <a:ext cx="3003961" cy="3562425"/>
            </a:xfrm>
            <a:prstGeom prst="chevron">
              <a:avLst>
                <a:gd name="adj" fmla="val 6648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55DA9E39-CC35-78E4-A048-7C41BC1B4282}"/>
                </a:ext>
              </a:extLst>
            </p:cNvPr>
            <p:cNvSpPr txBox="1"/>
            <p:nvPr/>
          </p:nvSpPr>
          <p:spPr>
            <a:xfrm>
              <a:off x="8848618" y="1703411"/>
              <a:ext cx="2383220" cy="5389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莫博赛替尼与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FR ex20ins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突变位点有效结合</a:t>
              </a:r>
            </a:p>
          </p:txBody>
        </p:sp>
        <p:pic>
          <p:nvPicPr>
            <p:cNvPr id="91" name="图片 90">
              <a:extLst>
                <a:ext uri="{FF2B5EF4-FFF2-40B4-BE49-F238E27FC236}">
                  <a16:creationId xmlns:a16="http://schemas.microsoft.com/office/drawing/2014/main" id="{79FD9401-8481-FB12-7AA8-038CF65717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90"/>
            <a:stretch/>
          </p:blipFill>
          <p:spPr>
            <a:xfrm>
              <a:off x="5920050" y="3150167"/>
              <a:ext cx="2278020" cy="2473525"/>
            </a:xfrm>
            <a:prstGeom prst="roundRect">
              <a:avLst>
                <a:gd name="adj" fmla="val 0"/>
              </a:avLst>
            </a:prstGeom>
          </p:spPr>
        </p:pic>
        <p:sp>
          <p:nvSpPr>
            <p:cNvPr id="93" name="矩形 92">
              <a:extLst>
                <a:ext uri="{FF2B5EF4-FFF2-40B4-BE49-F238E27FC236}">
                  <a16:creationId xmlns:a16="http://schemas.microsoft.com/office/drawing/2014/main" id="{B2ECF4C1-1F7E-B314-EC1D-CD1E00B2A454}"/>
                </a:ext>
              </a:extLst>
            </p:cNvPr>
            <p:cNvSpPr/>
            <p:nvPr/>
          </p:nvSpPr>
          <p:spPr>
            <a:xfrm>
              <a:off x="6317596" y="5202403"/>
              <a:ext cx="1662850" cy="3381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2565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FRex20i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2565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药物结合口袋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变小</a:t>
              </a:r>
            </a:p>
          </p:txBody>
        </p:sp>
        <p:sp>
          <p:nvSpPr>
            <p:cNvPr id="94" name="矩形 93">
              <a:extLst>
                <a:ext uri="{FF2B5EF4-FFF2-40B4-BE49-F238E27FC236}">
                  <a16:creationId xmlns:a16="http://schemas.microsoft.com/office/drawing/2014/main" id="{76A8C08F-1B40-E70C-C58C-4C2A5E89AF67}"/>
                </a:ext>
              </a:extLst>
            </p:cNvPr>
            <p:cNvSpPr/>
            <p:nvPr/>
          </p:nvSpPr>
          <p:spPr>
            <a:xfrm>
              <a:off x="7726229" y="4073240"/>
              <a:ext cx="545380" cy="3381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结合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受阻</a:t>
              </a:r>
            </a:p>
          </p:txBody>
        </p:sp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A10E21A4-F867-1A81-94D0-802C9E764A92}"/>
                </a:ext>
              </a:extLst>
            </p:cNvPr>
            <p:cNvGrpSpPr/>
            <p:nvPr/>
          </p:nvGrpSpPr>
          <p:grpSpPr>
            <a:xfrm>
              <a:off x="5716409" y="3167961"/>
              <a:ext cx="916622" cy="1485090"/>
              <a:chOff x="3985548" y="2579280"/>
              <a:chExt cx="654056" cy="1059689"/>
            </a:xfrm>
          </p:grpSpPr>
          <p:sp>
            <p:nvSpPr>
              <p:cNvPr id="83" name="矩形 82">
                <a:extLst>
                  <a:ext uri="{FF2B5EF4-FFF2-40B4-BE49-F238E27FC236}">
                    <a16:creationId xmlns:a16="http://schemas.microsoft.com/office/drawing/2014/main" id="{F61D10AF-2F37-E56E-1E86-7796E80A5404}"/>
                  </a:ext>
                </a:extLst>
              </p:cNvPr>
              <p:cNvSpPr/>
              <p:nvPr/>
            </p:nvSpPr>
            <p:spPr>
              <a:xfrm>
                <a:off x="3985548" y="2579280"/>
                <a:ext cx="654051" cy="2413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25652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胞外区</a:t>
                </a:r>
              </a:p>
            </p:txBody>
          </p:sp>
          <p:sp>
            <p:nvSpPr>
              <p:cNvPr id="87" name="矩形 86">
                <a:extLst>
                  <a:ext uri="{FF2B5EF4-FFF2-40B4-BE49-F238E27FC236}">
                    <a16:creationId xmlns:a16="http://schemas.microsoft.com/office/drawing/2014/main" id="{6B1102CC-90D2-99E7-B9C0-60EE64A14C2D}"/>
                  </a:ext>
                </a:extLst>
              </p:cNvPr>
              <p:cNvSpPr/>
              <p:nvPr/>
            </p:nvSpPr>
            <p:spPr>
              <a:xfrm>
                <a:off x="3985553" y="3397669"/>
                <a:ext cx="654051" cy="2413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25652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胞内区</a:t>
                </a:r>
              </a:p>
            </p:txBody>
          </p:sp>
          <p:sp>
            <p:nvSpPr>
              <p:cNvPr id="90" name="矩形 89">
                <a:extLst>
                  <a:ext uri="{FF2B5EF4-FFF2-40B4-BE49-F238E27FC236}">
                    <a16:creationId xmlns:a16="http://schemas.microsoft.com/office/drawing/2014/main" id="{0706FB6E-FC73-AE01-8E7D-937898F6B120}"/>
                  </a:ext>
                </a:extLst>
              </p:cNvPr>
              <p:cNvSpPr/>
              <p:nvPr/>
            </p:nvSpPr>
            <p:spPr>
              <a:xfrm>
                <a:off x="3985553" y="3183495"/>
                <a:ext cx="654051" cy="2413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25652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细胞膜</a:t>
                </a:r>
              </a:p>
            </p:txBody>
          </p:sp>
        </p:grpSp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DAA1370B-E7E1-DC1D-0F27-78206A82CFE4}"/>
                </a:ext>
              </a:extLst>
            </p:cNvPr>
            <p:cNvSpPr/>
            <p:nvPr/>
          </p:nvSpPr>
          <p:spPr>
            <a:xfrm>
              <a:off x="6522369" y="4504919"/>
              <a:ext cx="1805004" cy="637531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4" name="乘号 43">
              <a:extLst>
                <a:ext uri="{FF2B5EF4-FFF2-40B4-BE49-F238E27FC236}">
                  <a16:creationId xmlns:a16="http://schemas.microsoft.com/office/drawing/2014/main" id="{5643E3B6-4147-C283-AFB8-EE40B1EFECFD}"/>
                </a:ext>
              </a:extLst>
            </p:cNvPr>
            <p:cNvSpPr/>
            <p:nvPr/>
          </p:nvSpPr>
          <p:spPr>
            <a:xfrm>
              <a:off x="7330919" y="4010506"/>
              <a:ext cx="463636" cy="463635"/>
            </a:xfrm>
            <a:prstGeom prst="mathMultiply">
              <a:avLst>
                <a:gd name="adj1" fmla="val 1155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676BB21A-D6D1-6A96-7FCB-F8394863696A}"/>
                </a:ext>
              </a:extLst>
            </p:cNvPr>
            <p:cNvSpPr/>
            <p:nvPr/>
          </p:nvSpPr>
          <p:spPr>
            <a:xfrm>
              <a:off x="7293616" y="4845082"/>
              <a:ext cx="916613" cy="3381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2565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传统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52565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FR TKI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2565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2CB68753-3FEA-764D-BE94-E2473F22343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51845" y="4838456"/>
              <a:ext cx="123691" cy="84507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EFE5C396-F338-95E5-6BC7-6B900A21AADA}"/>
                </a:ext>
              </a:extLst>
            </p:cNvPr>
            <p:cNvSpPr/>
            <p:nvPr/>
          </p:nvSpPr>
          <p:spPr>
            <a:xfrm>
              <a:off x="10422339" y="4249490"/>
              <a:ext cx="711006" cy="1403739"/>
            </a:xfrm>
            <a:prstGeom prst="rect">
              <a:avLst/>
            </a:prstGeom>
            <a:solidFill>
              <a:srgbClr val="FEF2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1" name="矩形 110">
              <a:extLst>
                <a:ext uri="{FF2B5EF4-FFF2-40B4-BE49-F238E27FC236}">
                  <a16:creationId xmlns:a16="http://schemas.microsoft.com/office/drawing/2014/main" id="{8276ADB1-4978-34A0-2EEA-38449F001A1A}"/>
                </a:ext>
              </a:extLst>
            </p:cNvPr>
            <p:cNvSpPr/>
            <p:nvPr/>
          </p:nvSpPr>
          <p:spPr>
            <a:xfrm>
              <a:off x="10422340" y="3157320"/>
              <a:ext cx="711006" cy="940919"/>
            </a:xfrm>
            <a:prstGeom prst="rect">
              <a:avLst/>
            </a:pr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pic>
          <p:nvPicPr>
            <p:cNvPr id="112" name="图片 111">
              <a:extLst>
                <a:ext uri="{FF2B5EF4-FFF2-40B4-BE49-F238E27FC236}">
                  <a16:creationId xmlns:a16="http://schemas.microsoft.com/office/drawing/2014/main" id="{4AAAC983-6377-B5AB-720B-2AFE44A16A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00" t="6346" r="10999"/>
            <a:stretch/>
          </p:blipFill>
          <p:spPr>
            <a:xfrm>
              <a:off x="8962142" y="3160848"/>
              <a:ext cx="1545876" cy="2484340"/>
            </a:xfrm>
            <a:prstGeom prst="rect">
              <a:avLst/>
            </a:prstGeom>
            <a:ln w="9525">
              <a:noFill/>
            </a:ln>
          </p:spPr>
        </p:pic>
        <p:cxnSp>
          <p:nvCxnSpPr>
            <p:cNvPr id="113" name="直接连接符 112">
              <a:extLst>
                <a:ext uri="{FF2B5EF4-FFF2-40B4-BE49-F238E27FC236}">
                  <a16:creationId xmlns:a16="http://schemas.microsoft.com/office/drawing/2014/main" id="{70874564-0BBF-5E3F-9FD0-39D951CD18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508046" y="4982407"/>
              <a:ext cx="140705" cy="15316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矩形 113">
              <a:extLst>
                <a:ext uri="{FF2B5EF4-FFF2-40B4-BE49-F238E27FC236}">
                  <a16:creationId xmlns:a16="http://schemas.microsoft.com/office/drawing/2014/main" id="{4D9B10F9-2DB7-B8AA-1FD1-CA4DDA40F5C9}"/>
                </a:ext>
              </a:extLst>
            </p:cNvPr>
            <p:cNvSpPr/>
            <p:nvPr/>
          </p:nvSpPr>
          <p:spPr>
            <a:xfrm>
              <a:off x="10095354" y="4759779"/>
              <a:ext cx="1049911" cy="1612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3197D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莫博赛替尼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C3197D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cxnSp>
          <p:nvCxnSpPr>
            <p:cNvPr id="117" name="直接连接符 116">
              <a:extLst>
                <a:ext uri="{FF2B5EF4-FFF2-40B4-BE49-F238E27FC236}">
                  <a16:creationId xmlns:a16="http://schemas.microsoft.com/office/drawing/2014/main" id="{799CAFF3-CCC0-D5F6-E519-45D4852DAFE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072136" y="4712783"/>
              <a:ext cx="71169" cy="24074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矩形 117">
              <a:extLst>
                <a:ext uri="{FF2B5EF4-FFF2-40B4-BE49-F238E27FC236}">
                  <a16:creationId xmlns:a16="http://schemas.microsoft.com/office/drawing/2014/main" id="{523787B2-4673-A360-497A-873F7795234D}"/>
                </a:ext>
              </a:extLst>
            </p:cNvPr>
            <p:cNvSpPr/>
            <p:nvPr/>
          </p:nvSpPr>
          <p:spPr>
            <a:xfrm>
              <a:off x="10422340" y="4081248"/>
              <a:ext cx="711006" cy="168237"/>
            </a:xfrm>
            <a:prstGeom prst="rect">
              <a:avLst/>
            </a:prstGeom>
            <a:solidFill>
              <a:srgbClr val="F7F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FD553FEE-65B7-DCFE-0D69-7C055DBD6B48}"/>
                </a:ext>
              </a:extLst>
            </p:cNvPr>
            <p:cNvSpPr/>
            <p:nvPr/>
          </p:nvSpPr>
          <p:spPr>
            <a:xfrm>
              <a:off x="8945869" y="5198194"/>
              <a:ext cx="1265064" cy="3465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2565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FRex20i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2565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药物结合口袋</a:t>
              </a:r>
            </a:p>
          </p:txBody>
        </p:sp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3D6FFF15-BFB0-9EF1-AB1B-630AD0C9612C}"/>
                </a:ext>
              </a:extLst>
            </p:cNvPr>
            <p:cNvSpPr txBox="1"/>
            <p:nvPr/>
          </p:nvSpPr>
          <p:spPr>
            <a:xfrm>
              <a:off x="9661289" y="3973230"/>
              <a:ext cx="714701" cy="53818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✔</a:t>
              </a:r>
            </a:p>
          </p:txBody>
        </p:sp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DC72D840-725B-84B2-646B-6DB6B3E4223F}"/>
                </a:ext>
              </a:extLst>
            </p:cNvPr>
            <p:cNvSpPr/>
            <p:nvPr/>
          </p:nvSpPr>
          <p:spPr>
            <a:xfrm>
              <a:off x="10079844" y="4038148"/>
              <a:ext cx="1269422" cy="4083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突破空间位阻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特异性结合</a:t>
              </a:r>
            </a:p>
          </p:txBody>
        </p:sp>
        <p:sp>
          <p:nvSpPr>
            <p:cNvPr id="11" name="流程图: 过程 10">
              <a:extLst>
                <a:ext uri="{FF2B5EF4-FFF2-40B4-BE49-F238E27FC236}">
                  <a16:creationId xmlns:a16="http://schemas.microsoft.com/office/drawing/2014/main" id="{0A766F05-B3E2-B217-F497-E6D3239E41C5}"/>
                </a:ext>
              </a:extLst>
            </p:cNvPr>
            <p:cNvSpPr/>
            <p:nvPr/>
          </p:nvSpPr>
          <p:spPr>
            <a:xfrm>
              <a:off x="8476824" y="2594853"/>
              <a:ext cx="2664000" cy="79200"/>
            </a:xfrm>
            <a:prstGeom prst="flowChartProcess">
              <a:avLst/>
            </a:prstGeom>
            <a:solidFill>
              <a:srgbClr val="C00000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" name="等腰三角形 12">
              <a:extLst>
                <a:ext uri="{FF2B5EF4-FFF2-40B4-BE49-F238E27FC236}">
                  <a16:creationId xmlns:a16="http://schemas.microsoft.com/office/drawing/2014/main" id="{6868AF2E-54E7-E2AF-10F7-9E81622A4F05}"/>
                </a:ext>
              </a:extLst>
            </p:cNvPr>
            <p:cNvSpPr/>
            <p:nvPr/>
          </p:nvSpPr>
          <p:spPr>
            <a:xfrm rot="5400000">
              <a:off x="11076640" y="2576680"/>
              <a:ext cx="249198" cy="115546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1C0BF1BD-39BB-BC85-E949-BA63B04DDB3E}"/>
                </a:ext>
              </a:extLst>
            </p:cNvPr>
            <p:cNvSpPr/>
            <p:nvPr/>
          </p:nvSpPr>
          <p:spPr>
            <a:xfrm>
              <a:off x="9950229" y="2544453"/>
              <a:ext cx="179999" cy="180000"/>
            </a:xfrm>
            <a:prstGeom prst="ellipse">
              <a:avLst/>
            </a:prstGeom>
            <a:solidFill>
              <a:srgbClr val="C000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5" name="流程图: 过程 14">
              <a:extLst>
                <a:ext uri="{FF2B5EF4-FFF2-40B4-BE49-F238E27FC236}">
                  <a16:creationId xmlns:a16="http://schemas.microsoft.com/office/drawing/2014/main" id="{FFB81AFF-48E0-911C-8806-9C3410166CD7}"/>
                </a:ext>
              </a:extLst>
            </p:cNvPr>
            <p:cNvSpPr/>
            <p:nvPr/>
          </p:nvSpPr>
          <p:spPr>
            <a:xfrm>
              <a:off x="5745341" y="2594853"/>
              <a:ext cx="2772000" cy="79200"/>
            </a:xfrm>
            <a:prstGeom prst="flowChartProcess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A36D14FF-CC7E-985D-06A9-93BAAC88DCA0}"/>
                </a:ext>
              </a:extLst>
            </p:cNvPr>
            <p:cNvSpPr/>
            <p:nvPr/>
          </p:nvSpPr>
          <p:spPr>
            <a:xfrm>
              <a:off x="7043445" y="2544453"/>
              <a:ext cx="179999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1F793752-42C4-702E-B6CA-8A4C53248170}"/>
                </a:ext>
              </a:extLst>
            </p:cNvPr>
            <p:cNvSpPr txBox="1"/>
            <p:nvPr/>
          </p:nvSpPr>
          <p:spPr>
            <a:xfrm>
              <a:off x="5532383" y="2727240"/>
              <a:ext cx="1045017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004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年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B2BCF7C6-4A73-2478-ED94-F2D7566A9123}"/>
                </a:ext>
              </a:extLst>
            </p:cNvPr>
            <p:cNvSpPr txBox="1"/>
            <p:nvPr/>
          </p:nvSpPr>
          <p:spPr>
            <a:xfrm>
              <a:off x="8561817" y="2727312"/>
              <a:ext cx="1310252" cy="3076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023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年</a:t>
              </a:r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CB5D53F6-6FA0-4618-B031-E15A7D633774}"/>
                </a:ext>
              </a:extLst>
            </p:cNvPr>
            <p:cNvSpPr txBox="1"/>
            <p:nvPr/>
          </p:nvSpPr>
          <p:spPr>
            <a:xfrm>
              <a:off x="6354228" y="2727240"/>
              <a:ext cx="238674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FR ex20ins</a:t>
              </a:r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被发现</a:t>
              </a:r>
            </a:p>
          </p:txBody>
        </p:sp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9818C368-7607-6551-75BF-E1072498A065}"/>
                </a:ext>
              </a:extLst>
            </p:cNvPr>
            <p:cNvSpPr txBox="1"/>
            <p:nvPr/>
          </p:nvSpPr>
          <p:spPr>
            <a:xfrm>
              <a:off x="9482630" y="2727240"/>
              <a:ext cx="1823203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国内首个靶向药获批</a:t>
              </a:r>
            </a:p>
          </p:txBody>
        </p:sp>
        <p:sp>
          <p:nvSpPr>
            <p:cNvPr id="2" name="椭圆 1">
              <a:extLst>
                <a:ext uri="{FF2B5EF4-FFF2-40B4-BE49-F238E27FC236}">
                  <a16:creationId xmlns:a16="http://schemas.microsoft.com/office/drawing/2014/main" id="{AC822F4E-DD51-05A8-AA51-9C8A172AA3AE}"/>
                </a:ext>
              </a:extLst>
            </p:cNvPr>
            <p:cNvSpPr/>
            <p:nvPr/>
          </p:nvSpPr>
          <p:spPr>
            <a:xfrm>
              <a:off x="9172907" y="4504919"/>
              <a:ext cx="1805004" cy="637531"/>
            </a:xfrm>
            <a:prstGeom prst="ellipse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E853B3E2-8965-D0F9-700E-2445789A10E9}"/>
              </a:ext>
            </a:extLst>
          </p:cNvPr>
          <p:cNvSpPr/>
          <p:nvPr/>
        </p:nvSpPr>
        <p:spPr>
          <a:xfrm>
            <a:off x="528352" y="3850850"/>
            <a:ext cx="1288370" cy="986665"/>
          </a:xfrm>
          <a:prstGeom prst="roundRect">
            <a:avLst>
              <a:gd name="adj" fmla="val 9015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用创新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5C3A3278-27D4-4C75-6FAE-B157B82D13C6}"/>
              </a:ext>
            </a:extLst>
          </p:cNvPr>
          <p:cNvSpPr/>
          <p:nvPr/>
        </p:nvSpPr>
        <p:spPr>
          <a:xfrm>
            <a:off x="528352" y="2630464"/>
            <a:ext cx="1288370" cy="986665"/>
          </a:xfrm>
          <a:prstGeom prst="roundRect">
            <a:avLst>
              <a:gd name="adj" fmla="val 9015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构创新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5DCE14FC-7573-31EC-E48C-5CA5ED2D23B2}"/>
              </a:ext>
            </a:extLst>
          </p:cNvPr>
          <p:cNvSpPr/>
          <p:nvPr/>
        </p:nvSpPr>
        <p:spPr>
          <a:xfrm>
            <a:off x="528352" y="1410078"/>
            <a:ext cx="1288370" cy="986665"/>
          </a:xfrm>
          <a:prstGeom prst="roundRect">
            <a:avLst>
              <a:gd name="adj" fmla="val 9015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来的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重大创新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5539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8.40564658476125003972E+00&quot;&gt;&lt;m_msothmcolidx val=&quot;0&quot;/&gt;&lt;m_rgb r=&quot;B3&quot; g=&quot;0D&quot; b=&quot;00&quot;/&gt;&lt;/elem&gt;&lt;elem m_fUsage=&quot;7.08059603273498039400E-01&quot;&gt;&lt;m_msothmcolidx val=&quot;0&quot;/&gt;&lt;m_rgb r=&quot;6A&quot; g=&quot;6A&quot; b=&quot;6A&quot;/&gt;&lt;/elem&gt;&lt;elem m_fUsage=&quot;1.68395824273397554105E-01&quot;&gt;&lt;m_msothmcolidx val=&quot;0&quot;/&gt;&lt;m_rgb r=&quot;FF&quot; g=&quot;67&quot; b=&quot;5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AKk.Rxx2JLgo7ne.B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56388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56388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69350;#45168;#43890;#381512;#385165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7xqkitwXGuh6ar.OcG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87XWbjv.WjZzuJQuwk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YrV91LCuPl3Dx_IqVk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L23DC8E5xl4RvQP20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6vquLx_0ZVk_.3Ra5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56188;#173394;#375874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XMzjgIG.jcpJT7xjm3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QjCErNL3KUdJkKhzm8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N22wac6VeCtZ5u3p8b9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GB0cUghOjuOvUrQbmY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bp9VoV_GyQ.oaW8uJ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ZJFosR6qrZFV4mgow5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wlK9mNuzXvdHLScQVO2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9610;#35698;#163756;#136283;#56226;#35994;#162321;#369359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58059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tx1">
              <a:lumMod val="50000"/>
              <a:lumOff val="50000"/>
            </a:schemeClr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>
        <a:noAutofit/>
      </a:bodyPr>
      <a:lstStyle>
        <a:defPPr algn="l">
          <a:defRPr sz="1400" dirty="0">
            <a:effectLst/>
            <a:latin typeface="微软雅黑" panose="020B0503020204020204" pitchFamily="34" charset="-122"/>
            <a:ea typeface="微软雅黑" panose="020B0503020204020204" pitchFamily="34" charset="-122"/>
            <a:cs typeface="Times New Roman" panose="02020603050405020304" pitchFamily="18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自定义设计方案">
  <a:themeElements>
    <a:clrScheme name="EXKIVITY">
      <a:dk1>
        <a:srgbClr val="C41A7D"/>
      </a:dk1>
      <a:lt1>
        <a:srgbClr val="FFFFFF"/>
      </a:lt1>
      <a:dk2>
        <a:srgbClr val="C41A7D"/>
      </a:dk2>
      <a:lt2>
        <a:srgbClr val="FFFFFF"/>
      </a:lt2>
      <a:accent1>
        <a:srgbClr val="C41A7D"/>
      </a:accent1>
      <a:accent2>
        <a:srgbClr val="F39981"/>
      </a:accent2>
      <a:accent3>
        <a:srgbClr val="CCDA62"/>
      </a:accent3>
      <a:accent4>
        <a:srgbClr val="FFC000"/>
      </a:accent4>
      <a:accent5>
        <a:srgbClr val="63C1DB"/>
      </a:accent5>
      <a:accent6>
        <a:srgbClr val="9563DF"/>
      </a:accent6>
      <a:hlink>
        <a:srgbClr val="A5A5A5"/>
      </a:hlink>
      <a:folHlink>
        <a:srgbClr val="BDD7EE"/>
      </a:folHlink>
    </a:clrScheme>
    <a:fontScheme name="NZ">
      <a:majorFont>
        <a:latin typeface="Arial Black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smtClean="0">
            <a:solidFill>
              <a:srgbClr val="D21C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Takeda_ppt_uroko_tpc_akanered">
  <a:themeElements>
    <a:clrScheme name="Takeda Digital Color Palette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EF3420"/>
      </a:accent1>
      <a:accent2>
        <a:srgbClr val="FE8302"/>
      </a:accent2>
      <a:accent3>
        <a:srgbClr val="FFCB36"/>
      </a:accent3>
      <a:accent4>
        <a:srgbClr val="7D7D7D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标准字体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2629</Words>
  <Application>Microsoft Office PowerPoint</Application>
  <PresentationFormat>宽屏</PresentationFormat>
  <Paragraphs>287</Paragraphs>
  <Slides>11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2" baseType="lpstr">
      <vt:lpstr>等线</vt:lpstr>
      <vt:lpstr>Microsoft YaHei</vt:lpstr>
      <vt:lpstr>Microsoft YaHei</vt:lpstr>
      <vt:lpstr>Agency FB</vt:lpstr>
      <vt:lpstr>Arial</vt:lpstr>
      <vt:lpstr>Calibri</vt:lpstr>
      <vt:lpstr>1_Takeda_ppt_uroko_tpc_akanered</vt:lpstr>
      <vt:lpstr>2_Takeda_ppt_uroko_tpc_akanered</vt:lpstr>
      <vt:lpstr>4_自定义设计方案</vt:lpstr>
      <vt:lpstr>8_Takeda_ppt_uroko_tpc_akanered</vt:lpstr>
      <vt:lpstr>think-cell 幻灯片</vt:lpstr>
      <vt:lpstr>莫博赛替尼胶囊（安卫力®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布格替尼 申报药品摘要</dc:title>
  <dc:creator>Lim, Wah Seng</dc:creator>
  <cp:lastModifiedBy>Zhong, Manni</cp:lastModifiedBy>
  <cp:revision>934</cp:revision>
  <cp:lastPrinted>2022-07-12T05:17:26Z</cp:lastPrinted>
  <dcterms:created xsi:type="dcterms:W3CDTF">2022-06-15T03:24:28Z</dcterms:created>
  <dcterms:modified xsi:type="dcterms:W3CDTF">2023-07-14T08:23:04Z</dcterms:modified>
</cp:coreProperties>
</file>